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8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5.xml" ContentType="application/vnd.openxmlformats-officedocument.presentationml.notesSlide+xml"/>
  <Override PartName="/ppt/tags/tag32.xml" ContentType="application/vnd.openxmlformats-officedocument.presentationml.tags+xml"/>
  <Override PartName="/ppt/notesSlides/notesSlide26.xml" ContentType="application/vnd.openxmlformats-officedocument.presentationml.notesSlide+xml"/>
  <Override PartName="/ppt/tags/tag33.xml" ContentType="application/vnd.openxmlformats-officedocument.presentationml.tags+xml"/>
  <Override PartName="/ppt/notesSlides/notesSlide27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8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9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30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3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2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34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35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36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37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38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39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40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41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4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43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44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45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46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47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48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49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50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51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52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53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54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55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56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57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58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59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60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61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62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63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64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65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66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67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68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69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70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71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7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73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74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75.xml" ContentType="application/vnd.openxmlformats-officedocument.presentationml.notesSl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76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77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78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79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80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81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82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83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84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85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86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87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88.xml" ContentType="application/vnd.openxmlformats-officedocument.presentationml.notesSl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89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90.xml" ContentType="application/vnd.openxmlformats-officedocument.presentationml.notesSl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91.xml" ContentType="application/vnd.openxmlformats-officedocument.presentationml.notesSlid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92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notesSlides/notesSlide93.xml" ContentType="application/vnd.openxmlformats-officedocument.presentationml.notesSlid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94.xml" ContentType="application/vnd.openxmlformats-officedocument.presentationml.notesSl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95.xml" ContentType="application/vnd.openxmlformats-officedocument.presentationml.notesSl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96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notesSlides/notesSlide97.xml" ContentType="application/vnd.openxmlformats-officedocument.presentationml.notesSl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98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99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100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101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102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103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104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105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106.xml" ContentType="application/vnd.openxmlformats-officedocument.presentationml.notesSl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107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108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10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8" r:id="rId2"/>
  </p:sldMasterIdLst>
  <p:notesMasterIdLst>
    <p:notesMasterId r:id="rId112"/>
  </p:notesMasterIdLst>
  <p:sldIdLst>
    <p:sldId id="257" r:id="rId3"/>
    <p:sldId id="742" r:id="rId4"/>
    <p:sldId id="745" r:id="rId5"/>
    <p:sldId id="746" r:id="rId6"/>
    <p:sldId id="747" r:id="rId7"/>
    <p:sldId id="748" r:id="rId8"/>
    <p:sldId id="749" r:id="rId9"/>
    <p:sldId id="750" r:id="rId10"/>
    <p:sldId id="561" r:id="rId11"/>
    <p:sldId id="562" r:id="rId12"/>
    <p:sldId id="446" r:id="rId13"/>
    <p:sldId id="819" r:id="rId14"/>
    <p:sldId id="839" r:id="rId15"/>
    <p:sldId id="620" r:id="rId16"/>
    <p:sldId id="840" r:id="rId17"/>
    <p:sldId id="626" r:id="rId18"/>
    <p:sldId id="498" r:id="rId19"/>
    <p:sldId id="480" r:id="rId20"/>
    <p:sldId id="499" r:id="rId21"/>
    <p:sldId id="481" r:id="rId22"/>
    <p:sldId id="841" r:id="rId23"/>
    <p:sldId id="500" r:id="rId24"/>
    <p:sldId id="501" r:id="rId25"/>
    <p:sldId id="842" r:id="rId26"/>
    <p:sldId id="844" r:id="rId27"/>
    <p:sldId id="503" r:id="rId28"/>
    <p:sldId id="505" r:id="rId29"/>
    <p:sldId id="901" r:id="rId30"/>
    <p:sldId id="482" r:id="rId31"/>
    <p:sldId id="902" r:id="rId32"/>
    <p:sldId id="845" r:id="rId33"/>
    <p:sldId id="846" r:id="rId34"/>
    <p:sldId id="903" r:id="rId35"/>
    <p:sldId id="511" r:id="rId36"/>
    <p:sldId id="904" r:id="rId37"/>
    <p:sldId id="483" r:id="rId38"/>
    <p:sldId id="905" r:id="rId39"/>
    <p:sldId id="510" r:id="rId40"/>
    <p:sldId id="906" r:id="rId41"/>
    <p:sldId id="621" r:id="rId42"/>
    <p:sldId id="848" r:id="rId43"/>
    <p:sldId id="947" r:id="rId44"/>
    <p:sldId id="641" r:id="rId45"/>
    <p:sldId id="649" r:id="rId46"/>
    <p:sldId id="850" r:id="rId47"/>
    <p:sldId id="856" r:id="rId48"/>
    <p:sldId id="851" r:id="rId49"/>
    <p:sldId id="857" r:id="rId50"/>
    <p:sldId id="858" r:id="rId51"/>
    <p:sldId id="852" r:id="rId52"/>
    <p:sldId id="853" r:id="rId53"/>
    <p:sldId id="859" r:id="rId54"/>
    <p:sldId id="854" r:id="rId55"/>
    <p:sldId id="860" r:id="rId56"/>
    <p:sldId id="861" r:id="rId57"/>
    <p:sldId id="886" r:id="rId58"/>
    <p:sldId id="849" r:id="rId59"/>
    <p:sldId id="622" r:id="rId60"/>
    <p:sldId id="487" r:id="rId61"/>
    <p:sldId id="895" r:id="rId62"/>
    <p:sldId id="527" r:id="rId63"/>
    <p:sldId id="896" r:id="rId64"/>
    <p:sldId id="528" r:id="rId65"/>
    <p:sldId id="897" r:id="rId66"/>
    <p:sldId id="530" r:id="rId67"/>
    <p:sldId id="898" r:id="rId68"/>
    <p:sldId id="488" r:id="rId69"/>
    <p:sldId id="899" r:id="rId70"/>
    <p:sldId id="529" r:id="rId71"/>
    <p:sldId id="900" r:id="rId72"/>
    <p:sldId id="623" r:id="rId73"/>
    <p:sldId id="908" r:id="rId74"/>
    <p:sldId id="914" r:id="rId75"/>
    <p:sldId id="909" r:id="rId76"/>
    <p:sldId id="915" r:id="rId77"/>
    <p:sldId id="910" r:id="rId78"/>
    <p:sldId id="916" r:id="rId79"/>
    <p:sldId id="911" r:id="rId80"/>
    <p:sldId id="917" r:id="rId81"/>
    <p:sldId id="912" r:id="rId82"/>
    <p:sldId id="918" r:id="rId83"/>
    <p:sldId id="913" r:id="rId84"/>
    <p:sldId id="919" r:id="rId85"/>
    <p:sldId id="624" r:id="rId86"/>
    <p:sldId id="920" r:id="rId87"/>
    <p:sldId id="921" r:id="rId88"/>
    <p:sldId id="922" r:id="rId89"/>
    <p:sldId id="923" r:id="rId90"/>
    <p:sldId id="924" r:id="rId91"/>
    <p:sldId id="925" r:id="rId92"/>
    <p:sldId id="926" r:id="rId93"/>
    <p:sldId id="927" r:id="rId94"/>
    <p:sldId id="928" r:id="rId95"/>
    <p:sldId id="929" r:id="rId96"/>
    <p:sldId id="930" r:id="rId97"/>
    <p:sldId id="931" r:id="rId98"/>
    <p:sldId id="625" r:id="rId99"/>
    <p:sldId id="932" r:id="rId100"/>
    <p:sldId id="933" r:id="rId101"/>
    <p:sldId id="934" r:id="rId102"/>
    <p:sldId id="935" r:id="rId103"/>
    <p:sldId id="936" r:id="rId104"/>
    <p:sldId id="937" r:id="rId105"/>
    <p:sldId id="938" r:id="rId106"/>
    <p:sldId id="939" r:id="rId107"/>
    <p:sldId id="940" r:id="rId108"/>
    <p:sldId id="941" r:id="rId109"/>
    <p:sldId id="942" r:id="rId110"/>
    <p:sldId id="943" r:id="rId111"/>
  </p:sldIdLst>
  <p:sldSz cx="12192000" cy="6858000"/>
  <p:notesSz cx="6858000" cy="9144000"/>
  <p:custDataLst>
    <p:tags r:id="rId1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4" userDrawn="1">
          <p15:clr>
            <a:srgbClr val="A4A3A4"/>
          </p15:clr>
        </p15:guide>
        <p15:guide id="2" pos="2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A6A6A6"/>
    <a:srgbClr val="308219"/>
    <a:srgbClr val="FF0066"/>
    <a:srgbClr val="008000"/>
    <a:srgbClr val="005086"/>
    <a:srgbClr val="D1D105"/>
    <a:srgbClr val="FF66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32" autoAdjust="0"/>
    <p:restoredTop sz="95332" autoAdjust="0"/>
  </p:normalViewPr>
  <p:slideViewPr>
    <p:cSldViewPr snapToGrid="0">
      <p:cViewPr varScale="1">
        <p:scale>
          <a:sx n="72" d="100"/>
          <a:sy n="72" d="100"/>
        </p:scale>
        <p:origin x="978" y="66"/>
      </p:cViewPr>
      <p:guideLst>
        <p:guide orient="horz" pos="264"/>
        <p:guide pos="2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-692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117" Type="http://schemas.openxmlformats.org/officeDocument/2006/relationships/tableStyles" Target="tableStyles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12" Type="http://schemas.openxmlformats.org/officeDocument/2006/relationships/notesMaster" Target="notesMasters/notesMaster1.xml"/><Relationship Id="rId16" Type="http://schemas.openxmlformats.org/officeDocument/2006/relationships/slide" Target="slides/slide14.xml"/><Relationship Id="rId107" Type="http://schemas.openxmlformats.org/officeDocument/2006/relationships/slide" Target="slides/slide105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87" Type="http://schemas.openxmlformats.org/officeDocument/2006/relationships/slide" Target="slides/slide85.xml"/><Relationship Id="rId102" Type="http://schemas.openxmlformats.org/officeDocument/2006/relationships/slide" Target="slides/slide100.xml"/><Relationship Id="rId110" Type="http://schemas.openxmlformats.org/officeDocument/2006/relationships/slide" Target="slides/slide108.xml"/><Relationship Id="rId115" Type="http://schemas.openxmlformats.org/officeDocument/2006/relationships/viewProps" Target="viewProp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113" Type="http://schemas.openxmlformats.org/officeDocument/2006/relationships/tags" Target="tags/tag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103" Type="http://schemas.openxmlformats.org/officeDocument/2006/relationships/slide" Target="slides/slide101.xml"/><Relationship Id="rId108" Type="http://schemas.openxmlformats.org/officeDocument/2006/relationships/slide" Target="slides/slide106.xml"/><Relationship Id="rId116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11" Type="http://schemas.openxmlformats.org/officeDocument/2006/relationships/slide" Target="slides/slide10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14" Type="http://schemas.openxmlformats.org/officeDocument/2006/relationships/presProps" Target="presProp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slide" Target="slides/slide10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10868509380066E-2"/>
          <c:y val="0.243097706239985"/>
          <c:w val="0.98491284363202958"/>
          <c:h val="0.513880493635328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Q1 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TOTAL</c:v>
                </c:pt>
                <c:pt idx="1">
                  <c:v>Early Morning Bite</c:v>
                </c:pt>
                <c:pt idx="2">
                  <c:v>Breakfast For One</c:v>
                </c:pt>
                <c:pt idx="3">
                  <c:v>Family Breakfast</c:v>
                </c:pt>
                <c:pt idx="4">
                  <c:v>Breakfast at Work/School</c:v>
                </c:pt>
                <c:pt idx="5">
                  <c:v>Mid Morning Snack</c:v>
                </c:pt>
                <c:pt idx="6">
                  <c:v>Lunch</c:v>
                </c:pt>
                <c:pt idx="7">
                  <c:v>Lunch Alternative</c:v>
                </c:pt>
                <c:pt idx="8">
                  <c:v>Afternoon Snack</c:v>
                </c:pt>
                <c:pt idx="9">
                  <c:v>After Work/School Bite</c:v>
                </c:pt>
                <c:pt idx="10">
                  <c:v>Dinner</c:v>
                </c:pt>
                <c:pt idx="11">
                  <c:v>Dinner Alternative</c:v>
                </c:pt>
                <c:pt idx="12">
                  <c:v>Evening Me</c:v>
                </c:pt>
                <c:pt idx="13">
                  <c:v>Evening We</c:v>
                </c:pt>
                <c:pt idx="14">
                  <c:v>Bedtime/Late Night Snack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6.2E-2</c:v>
                </c:pt>
                <c:pt idx="1">
                  <c:v>0.111</c:v>
                </c:pt>
                <c:pt idx="2">
                  <c:v>0.11600000000000001</c:v>
                </c:pt>
                <c:pt idx="3">
                  <c:v>0.129</c:v>
                </c:pt>
                <c:pt idx="5">
                  <c:v>9.0999999999999998E-2</c:v>
                </c:pt>
                <c:pt idx="6">
                  <c:v>2.1000000000000001E-2</c:v>
                </c:pt>
                <c:pt idx="7">
                  <c:v>9.4E-2</c:v>
                </c:pt>
                <c:pt idx="8">
                  <c:v>5.2999999999999999E-2</c:v>
                </c:pt>
                <c:pt idx="9">
                  <c:v>6.8000000000000005E-2</c:v>
                </c:pt>
                <c:pt idx="10">
                  <c:v>1.4E-2</c:v>
                </c:pt>
                <c:pt idx="11">
                  <c:v>8.2000000000000003E-2</c:v>
                </c:pt>
                <c:pt idx="14">
                  <c:v>5.8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33-450F-84DE-442C2C38712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Q2 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TOTAL</c:v>
                </c:pt>
                <c:pt idx="1">
                  <c:v>Early Morning Bite</c:v>
                </c:pt>
                <c:pt idx="2">
                  <c:v>Breakfast For One</c:v>
                </c:pt>
                <c:pt idx="3">
                  <c:v>Family Breakfast</c:v>
                </c:pt>
                <c:pt idx="4">
                  <c:v>Breakfast at Work/School</c:v>
                </c:pt>
                <c:pt idx="5">
                  <c:v>Mid Morning Snack</c:v>
                </c:pt>
                <c:pt idx="6">
                  <c:v>Lunch</c:v>
                </c:pt>
                <c:pt idx="7">
                  <c:v>Lunch Alternative</c:v>
                </c:pt>
                <c:pt idx="8">
                  <c:v>Afternoon Snack</c:v>
                </c:pt>
                <c:pt idx="9">
                  <c:v>After Work/School Bite</c:v>
                </c:pt>
                <c:pt idx="10">
                  <c:v>Dinner</c:v>
                </c:pt>
                <c:pt idx="11">
                  <c:v>Dinner Alternative</c:v>
                </c:pt>
                <c:pt idx="12">
                  <c:v>Evening Me</c:v>
                </c:pt>
                <c:pt idx="13">
                  <c:v>Evening We</c:v>
                </c:pt>
                <c:pt idx="14">
                  <c:v>Bedtime/Late Night Snack</c:v>
                </c:pt>
              </c:strCache>
            </c:strRef>
          </c:cat>
          <c:val>
            <c:numRef>
              <c:f>Sheet1!$C$2:$C$16</c:f>
              <c:numCache>
                <c:formatCode>0.0%</c:formatCode>
                <c:ptCount val="15"/>
                <c:pt idx="0">
                  <c:v>6.6000000000000003E-2</c:v>
                </c:pt>
                <c:pt idx="1">
                  <c:v>0.11799999999999999</c:v>
                </c:pt>
                <c:pt idx="2">
                  <c:v>0.127</c:v>
                </c:pt>
                <c:pt idx="3">
                  <c:v>0.13100000000000001</c:v>
                </c:pt>
                <c:pt idx="5">
                  <c:v>0.104</c:v>
                </c:pt>
                <c:pt idx="6">
                  <c:v>3.5000000000000003E-2</c:v>
                </c:pt>
                <c:pt idx="7">
                  <c:v>7.9000000000000001E-2</c:v>
                </c:pt>
                <c:pt idx="8">
                  <c:v>6.0999999999999999E-2</c:v>
                </c:pt>
                <c:pt idx="9">
                  <c:v>0.09</c:v>
                </c:pt>
                <c:pt idx="10">
                  <c:v>1.4999999999999999E-2</c:v>
                </c:pt>
                <c:pt idx="11">
                  <c:v>7.4999999999999997E-2</c:v>
                </c:pt>
                <c:pt idx="14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533-450F-84DE-442C2C38712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Q3 201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533-450F-84DE-442C2C3871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TOTAL</c:v>
                </c:pt>
                <c:pt idx="1">
                  <c:v>Early Morning Bite</c:v>
                </c:pt>
                <c:pt idx="2">
                  <c:v>Breakfast For One</c:v>
                </c:pt>
                <c:pt idx="3">
                  <c:v>Family Breakfast</c:v>
                </c:pt>
                <c:pt idx="4">
                  <c:v>Breakfast at Work/School</c:v>
                </c:pt>
                <c:pt idx="5">
                  <c:v>Mid Morning Snack</c:v>
                </c:pt>
                <c:pt idx="6">
                  <c:v>Lunch</c:v>
                </c:pt>
                <c:pt idx="7">
                  <c:v>Lunch Alternative</c:v>
                </c:pt>
                <c:pt idx="8">
                  <c:v>Afternoon Snack</c:v>
                </c:pt>
                <c:pt idx="9">
                  <c:v>After Work/School Bite</c:v>
                </c:pt>
                <c:pt idx="10">
                  <c:v>Dinner</c:v>
                </c:pt>
                <c:pt idx="11">
                  <c:v>Dinner Alternative</c:v>
                </c:pt>
                <c:pt idx="12">
                  <c:v>Evening Me</c:v>
                </c:pt>
                <c:pt idx="13">
                  <c:v>Evening We</c:v>
                </c:pt>
                <c:pt idx="14">
                  <c:v>Bedtime/Late Night Snack</c:v>
                </c:pt>
              </c:strCache>
            </c:strRef>
          </c:cat>
          <c:val>
            <c:numRef>
              <c:f>Sheet1!$D$2:$D$16</c:f>
              <c:numCache>
                <c:formatCode>0.0%</c:formatCode>
                <c:ptCount val="15"/>
                <c:pt idx="0">
                  <c:v>8.2000000000000003E-2</c:v>
                </c:pt>
                <c:pt idx="1">
                  <c:v>0.13500000000000001</c:v>
                </c:pt>
                <c:pt idx="2">
                  <c:v>0.129</c:v>
                </c:pt>
                <c:pt idx="3">
                  <c:v>0.17100000000000001</c:v>
                </c:pt>
                <c:pt idx="5">
                  <c:v>0.126</c:v>
                </c:pt>
                <c:pt idx="6">
                  <c:v>3.1E-2</c:v>
                </c:pt>
                <c:pt idx="7">
                  <c:v>0.122</c:v>
                </c:pt>
                <c:pt idx="8">
                  <c:v>6.9000000000000006E-2</c:v>
                </c:pt>
                <c:pt idx="9">
                  <c:v>0.107</c:v>
                </c:pt>
                <c:pt idx="10">
                  <c:v>0.02</c:v>
                </c:pt>
                <c:pt idx="11">
                  <c:v>0.11</c:v>
                </c:pt>
                <c:pt idx="14">
                  <c:v>6.8000000000000005E-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7-2533-450F-84DE-442C2C38712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Q4 2019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TOTAL</c:v>
                </c:pt>
                <c:pt idx="1">
                  <c:v>Early Morning Bite</c:v>
                </c:pt>
                <c:pt idx="2">
                  <c:v>Breakfast For One</c:v>
                </c:pt>
                <c:pt idx="3">
                  <c:v>Family Breakfast</c:v>
                </c:pt>
                <c:pt idx="4">
                  <c:v>Breakfast at Work/School</c:v>
                </c:pt>
                <c:pt idx="5">
                  <c:v>Mid Morning Snack</c:v>
                </c:pt>
                <c:pt idx="6">
                  <c:v>Lunch</c:v>
                </c:pt>
                <c:pt idx="7">
                  <c:v>Lunch Alternative</c:v>
                </c:pt>
                <c:pt idx="8">
                  <c:v>Afternoon Snack</c:v>
                </c:pt>
                <c:pt idx="9">
                  <c:v>After Work/School Bite</c:v>
                </c:pt>
                <c:pt idx="10">
                  <c:v>Dinner</c:v>
                </c:pt>
                <c:pt idx="11">
                  <c:v>Dinner Alternative</c:v>
                </c:pt>
                <c:pt idx="12">
                  <c:v>Evening Me</c:v>
                </c:pt>
                <c:pt idx="13">
                  <c:v>Evening We</c:v>
                </c:pt>
                <c:pt idx="14">
                  <c:v>Bedtime/Late Night Snack</c:v>
                </c:pt>
              </c:strCache>
            </c:strRef>
          </c:cat>
          <c:val>
            <c:numRef>
              <c:f>Sheet1!$E$2:$E$16</c:f>
              <c:numCache>
                <c:formatCode>0.0%</c:formatCode>
                <c:ptCount val="15"/>
                <c:pt idx="0">
                  <c:v>6.2E-2</c:v>
                </c:pt>
                <c:pt idx="1">
                  <c:v>0.111</c:v>
                </c:pt>
                <c:pt idx="2">
                  <c:v>0.11600000000000001</c:v>
                </c:pt>
                <c:pt idx="3">
                  <c:v>0.129</c:v>
                </c:pt>
                <c:pt idx="5">
                  <c:v>9.0999999999999998E-2</c:v>
                </c:pt>
                <c:pt idx="6">
                  <c:v>2.1000000000000001E-2</c:v>
                </c:pt>
                <c:pt idx="7">
                  <c:v>9.4E-2</c:v>
                </c:pt>
                <c:pt idx="8">
                  <c:v>5.2999999999999999E-2</c:v>
                </c:pt>
                <c:pt idx="9">
                  <c:v>6.8000000000000005E-2</c:v>
                </c:pt>
                <c:pt idx="10">
                  <c:v>1.4E-2</c:v>
                </c:pt>
                <c:pt idx="11">
                  <c:v>8.2000000000000003E-2</c:v>
                </c:pt>
                <c:pt idx="14">
                  <c:v>5.8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533-450F-84DE-442C2C38712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Q1 2020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TOTAL</c:v>
                </c:pt>
                <c:pt idx="1">
                  <c:v>Early Morning Bite</c:v>
                </c:pt>
                <c:pt idx="2">
                  <c:v>Breakfast For One</c:v>
                </c:pt>
                <c:pt idx="3">
                  <c:v>Family Breakfast</c:v>
                </c:pt>
                <c:pt idx="4">
                  <c:v>Breakfast at Work/School</c:v>
                </c:pt>
                <c:pt idx="5">
                  <c:v>Mid Morning Snack</c:v>
                </c:pt>
                <c:pt idx="6">
                  <c:v>Lunch</c:v>
                </c:pt>
                <c:pt idx="7">
                  <c:v>Lunch Alternative</c:v>
                </c:pt>
                <c:pt idx="8">
                  <c:v>Afternoon Snack</c:v>
                </c:pt>
                <c:pt idx="9">
                  <c:v>After Work/School Bite</c:v>
                </c:pt>
                <c:pt idx="10">
                  <c:v>Dinner</c:v>
                </c:pt>
                <c:pt idx="11">
                  <c:v>Dinner Alternative</c:v>
                </c:pt>
                <c:pt idx="12">
                  <c:v>Evening Me</c:v>
                </c:pt>
                <c:pt idx="13">
                  <c:v>Evening We</c:v>
                </c:pt>
                <c:pt idx="14">
                  <c:v>Bedtime/Late Night Snack</c:v>
                </c:pt>
              </c:strCache>
            </c:strRef>
          </c:cat>
          <c:val>
            <c:numRef>
              <c:f>Sheet1!$F$2:$F$16</c:f>
              <c:numCache>
                <c:formatCode>0.0%</c:formatCode>
                <c:ptCount val="15"/>
                <c:pt idx="0">
                  <c:v>6.6000000000000003E-2</c:v>
                </c:pt>
                <c:pt idx="1">
                  <c:v>0.11799999999999999</c:v>
                </c:pt>
                <c:pt idx="2">
                  <c:v>0.127</c:v>
                </c:pt>
                <c:pt idx="3">
                  <c:v>0.13100000000000001</c:v>
                </c:pt>
                <c:pt idx="5">
                  <c:v>0.104</c:v>
                </c:pt>
                <c:pt idx="6">
                  <c:v>3.5000000000000003E-2</c:v>
                </c:pt>
                <c:pt idx="7">
                  <c:v>7.9000000000000001E-2</c:v>
                </c:pt>
                <c:pt idx="8">
                  <c:v>6.0999999999999999E-2</c:v>
                </c:pt>
                <c:pt idx="9">
                  <c:v>0.09</c:v>
                </c:pt>
                <c:pt idx="10">
                  <c:v>1.4999999999999999E-2</c:v>
                </c:pt>
                <c:pt idx="11">
                  <c:v>7.4999999999999997E-2</c:v>
                </c:pt>
                <c:pt idx="14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33-450F-84DE-442C2C38712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Q2 2020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TOTAL</c:v>
                </c:pt>
                <c:pt idx="1">
                  <c:v>Early Morning Bite</c:v>
                </c:pt>
                <c:pt idx="2">
                  <c:v>Breakfast For One</c:v>
                </c:pt>
                <c:pt idx="3">
                  <c:v>Family Breakfast</c:v>
                </c:pt>
                <c:pt idx="4">
                  <c:v>Breakfast at Work/School</c:v>
                </c:pt>
                <c:pt idx="5">
                  <c:v>Mid Morning Snack</c:v>
                </c:pt>
                <c:pt idx="6">
                  <c:v>Lunch</c:v>
                </c:pt>
                <c:pt idx="7">
                  <c:v>Lunch Alternative</c:v>
                </c:pt>
                <c:pt idx="8">
                  <c:v>Afternoon Snack</c:v>
                </c:pt>
                <c:pt idx="9">
                  <c:v>After Work/School Bite</c:v>
                </c:pt>
                <c:pt idx="10">
                  <c:v>Dinner</c:v>
                </c:pt>
                <c:pt idx="11">
                  <c:v>Dinner Alternative</c:v>
                </c:pt>
                <c:pt idx="12">
                  <c:v>Evening Me</c:v>
                </c:pt>
                <c:pt idx="13">
                  <c:v>Evening We</c:v>
                </c:pt>
                <c:pt idx="14">
                  <c:v>Bedtime/Late Night Snack</c:v>
                </c:pt>
              </c:strCache>
            </c:strRef>
          </c:cat>
          <c:val>
            <c:numRef>
              <c:f>Sheet1!$G$2:$G$16</c:f>
              <c:numCache>
                <c:formatCode>0.0%</c:formatCode>
                <c:ptCount val="15"/>
                <c:pt idx="0">
                  <c:v>8.2000000000000003E-2</c:v>
                </c:pt>
                <c:pt idx="1">
                  <c:v>0.13500000000000001</c:v>
                </c:pt>
                <c:pt idx="2">
                  <c:v>0.129</c:v>
                </c:pt>
                <c:pt idx="3">
                  <c:v>0.17100000000000001</c:v>
                </c:pt>
                <c:pt idx="5">
                  <c:v>0.126</c:v>
                </c:pt>
                <c:pt idx="6">
                  <c:v>3.1E-2</c:v>
                </c:pt>
                <c:pt idx="7">
                  <c:v>0.122</c:v>
                </c:pt>
                <c:pt idx="8">
                  <c:v>6.9000000000000006E-2</c:v>
                </c:pt>
                <c:pt idx="9">
                  <c:v>0.107</c:v>
                </c:pt>
                <c:pt idx="10">
                  <c:v>0.02</c:v>
                </c:pt>
                <c:pt idx="11">
                  <c:v>0.11</c:v>
                </c:pt>
                <c:pt idx="14">
                  <c:v>6.8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533-450F-84DE-442C2C387129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Q3 2020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TOTAL</c:v>
                </c:pt>
                <c:pt idx="1">
                  <c:v>Early Morning Bite</c:v>
                </c:pt>
                <c:pt idx="2">
                  <c:v>Breakfast For One</c:v>
                </c:pt>
                <c:pt idx="3">
                  <c:v>Family Breakfast</c:v>
                </c:pt>
                <c:pt idx="4">
                  <c:v>Breakfast at Work/School</c:v>
                </c:pt>
                <c:pt idx="5">
                  <c:v>Mid Morning Snack</c:v>
                </c:pt>
                <c:pt idx="6">
                  <c:v>Lunch</c:v>
                </c:pt>
                <c:pt idx="7">
                  <c:v>Lunch Alternative</c:v>
                </c:pt>
                <c:pt idx="8">
                  <c:v>Afternoon Snack</c:v>
                </c:pt>
                <c:pt idx="9">
                  <c:v>After Work/School Bite</c:v>
                </c:pt>
                <c:pt idx="10">
                  <c:v>Dinner</c:v>
                </c:pt>
                <c:pt idx="11">
                  <c:v>Dinner Alternative</c:v>
                </c:pt>
                <c:pt idx="12">
                  <c:v>Evening Me</c:v>
                </c:pt>
                <c:pt idx="13">
                  <c:v>Evening We</c:v>
                </c:pt>
                <c:pt idx="14">
                  <c:v>Bedtime/Late Night Snack</c:v>
                </c:pt>
              </c:strCache>
            </c:strRef>
          </c:cat>
          <c:val>
            <c:numRef>
              <c:f>Sheet1!$H$2:$H$16</c:f>
              <c:numCache>
                <c:formatCode>0.0%</c:formatCode>
                <c:ptCount val="15"/>
                <c:pt idx="0">
                  <c:v>8.2000000000000003E-2</c:v>
                </c:pt>
                <c:pt idx="1">
                  <c:v>0.13500000000000001</c:v>
                </c:pt>
                <c:pt idx="2">
                  <c:v>0.129</c:v>
                </c:pt>
                <c:pt idx="3">
                  <c:v>0.17100000000000001</c:v>
                </c:pt>
                <c:pt idx="5">
                  <c:v>0.126</c:v>
                </c:pt>
                <c:pt idx="6">
                  <c:v>3.1E-2</c:v>
                </c:pt>
                <c:pt idx="7">
                  <c:v>0.122</c:v>
                </c:pt>
                <c:pt idx="8">
                  <c:v>6.9000000000000006E-2</c:v>
                </c:pt>
                <c:pt idx="9">
                  <c:v>0.107</c:v>
                </c:pt>
                <c:pt idx="10">
                  <c:v>0.02</c:v>
                </c:pt>
                <c:pt idx="11">
                  <c:v>0.11</c:v>
                </c:pt>
                <c:pt idx="14">
                  <c:v>6.8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533-450F-84DE-442C2C387129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Q4 2020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TOTAL</c:v>
                </c:pt>
                <c:pt idx="1">
                  <c:v>Early Morning Bite</c:v>
                </c:pt>
                <c:pt idx="2">
                  <c:v>Breakfast For One</c:v>
                </c:pt>
                <c:pt idx="3">
                  <c:v>Family Breakfast</c:v>
                </c:pt>
                <c:pt idx="4">
                  <c:v>Breakfast at Work/School</c:v>
                </c:pt>
                <c:pt idx="5">
                  <c:v>Mid Morning Snack</c:v>
                </c:pt>
                <c:pt idx="6">
                  <c:v>Lunch</c:v>
                </c:pt>
                <c:pt idx="7">
                  <c:v>Lunch Alternative</c:v>
                </c:pt>
                <c:pt idx="8">
                  <c:v>Afternoon Snack</c:v>
                </c:pt>
                <c:pt idx="9">
                  <c:v>After Work/School Bite</c:v>
                </c:pt>
                <c:pt idx="10">
                  <c:v>Dinner</c:v>
                </c:pt>
                <c:pt idx="11">
                  <c:v>Dinner Alternative</c:v>
                </c:pt>
                <c:pt idx="12">
                  <c:v>Evening Me</c:v>
                </c:pt>
                <c:pt idx="13">
                  <c:v>Evening We</c:v>
                </c:pt>
                <c:pt idx="14">
                  <c:v>Bedtime/Late Night Snack</c:v>
                </c:pt>
              </c:strCache>
            </c:strRef>
          </c:cat>
          <c:val>
            <c:numRef>
              <c:f>Sheet1!$I$2:$I$16</c:f>
              <c:numCache>
                <c:formatCode>0.0%</c:formatCode>
                <c:ptCount val="15"/>
                <c:pt idx="0">
                  <c:v>8.2000000000000003E-2</c:v>
                </c:pt>
                <c:pt idx="1">
                  <c:v>0.13500000000000001</c:v>
                </c:pt>
                <c:pt idx="2">
                  <c:v>0.129</c:v>
                </c:pt>
                <c:pt idx="3">
                  <c:v>0.17100000000000001</c:v>
                </c:pt>
                <c:pt idx="5">
                  <c:v>0.126</c:v>
                </c:pt>
                <c:pt idx="6">
                  <c:v>3.1E-2</c:v>
                </c:pt>
                <c:pt idx="7">
                  <c:v>0.122</c:v>
                </c:pt>
                <c:pt idx="8">
                  <c:v>6.9000000000000006E-2</c:v>
                </c:pt>
                <c:pt idx="9">
                  <c:v>0.107</c:v>
                </c:pt>
                <c:pt idx="10">
                  <c:v>0.02</c:v>
                </c:pt>
                <c:pt idx="11">
                  <c:v>0.11</c:v>
                </c:pt>
                <c:pt idx="14">
                  <c:v>6.8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533-450F-84DE-442C2C38712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686802624"/>
        <c:axId val="686793112"/>
        <c:extLst/>
      </c:barChart>
      <c:catAx>
        <c:axId val="6868026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686793112"/>
        <c:crosses val="autoZero"/>
        <c:auto val="1"/>
        <c:lblAlgn val="ctr"/>
        <c:lblOffset val="100"/>
        <c:noMultiLvlLbl val="0"/>
      </c:catAx>
      <c:valAx>
        <c:axId val="686793112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68680262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t"/>
      <c:layout>
        <c:manualLayout>
          <c:xMode val="edge"/>
          <c:yMode val="edge"/>
          <c:x val="0.39536416304416483"/>
          <c:y val="4.5409159077450467E-2"/>
          <c:w val="0.60350757618225515"/>
          <c:h val="0.1164074924898391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Q2 2020 (During-COVID19), Q3 2020 (During-COVID19), Q4 2020 (During-COVID19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TOTAL</c:v>
                </c:pt>
                <c:pt idx="1">
                  <c:v>Early Morning Bite</c:v>
                </c:pt>
                <c:pt idx="2">
                  <c:v>Breakfast For One</c:v>
                </c:pt>
                <c:pt idx="3">
                  <c:v>Family Breakfast</c:v>
                </c:pt>
                <c:pt idx="4">
                  <c:v>Breakfast at Work/School</c:v>
                </c:pt>
                <c:pt idx="5">
                  <c:v>Mid Morning Snack</c:v>
                </c:pt>
                <c:pt idx="6">
                  <c:v>Lunch</c:v>
                </c:pt>
                <c:pt idx="7">
                  <c:v>Lunch Alternative</c:v>
                </c:pt>
                <c:pt idx="8">
                  <c:v>Afternoon Snack</c:v>
                </c:pt>
                <c:pt idx="9">
                  <c:v>After Work/School Bite</c:v>
                </c:pt>
                <c:pt idx="10">
                  <c:v>Dinner</c:v>
                </c:pt>
                <c:pt idx="11">
                  <c:v>Dinner Alternative</c:v>
                </c:pt>
                <c:pt idx="12">
                  <c:v>Evening Me</c:v>
                </c:pt>
                <c:pt idx="13">
                  <c:v>Evening We</c:v>
                </c:pt>
                <c:pt idx="14">
                  <c:v>Bedtime/Late Night Snack</c:v>
                </c:pt>
              </c:strCache>
            </c:strRef>
          </c:cat>
          <c:val>
            <c:numRef>
              <c:f>Sheet1!$B$2:$B$16</c:f>
              <c:numCache>
                <c:formatCode>##0.00%</c:formatCode>
                <c:ptCount val="15"/>
                <c:pt idx="0">
                  <c:v>6.0355712688047909E-2</c:v>
                </c:pt>
                <c:pt idx="1">
                  <c:v>8.412098298676747E-2</c:v>
                </c:pt>
                <c:pt idx="2">
                  <c:v>0.12035541195476576</c:v>
                </c:pt>
                <c:pt idx="3">
                  <c:v>0.13592974417716686</c:v>
                </c:pt>
                <c:pt idx="4">
                  <c:v>0.1077</c:v>
                </c:pt>
                <c:pt idx="5">
                  <c:v>8.5810810810810809E-2</c:v>
                </c:pt>
                <c:pt idx="6">
                  <c:v>2.4151123864179818E-2</c:v>
                </c:pt>
                <c:pt idx="7">
                  <c:v>7.0150322118826061E-2</c:v>
                </c:pt>
                <c:pt idx="8">
                  <c:v>5.7083333333333333E-2</c:v>
                </c:pt>
                <c:pt idx="9">
                  <c:v>5.8823529411764698E-2</c:v>
                </c:pt>
                <c:pt idx="10">
                  <c:v>1.2791572610985704E-2</c:v>
                </c:pt>
                <c:pt idx="11">
                  <c:v>8.7390761548064924E-2</c:v>
                </c:pt>
                <c:pt idx="12">
                  <c:v>4.6391752577319589E-2</c:v>
                </c:pt>
                <c:pt idx="13">
                  <c:v>3.5905271199388848E-2</c:v>
                </c:pt>
                <c:pt idx="14">
                  <c:v>5.62913907284768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DA-40FD-A736-889B82CB7D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Q2 2019 Pre-COVID19), Q3 2019 Pre-COVID19), Q4 2019 (Pre-COVID19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TOTAL</c:v>
                </c:pt>
                <c:pt idx="1">
                  <c:v>Early Morning Bite</c:v>
                </c:pt>
                <c:pt idx="2">
                  <c:v>Breakfast For One</c:v>
                </c:pt>
                <c:pt idx="3">
                  <c:v>Family Breakfast</c:v>
                </c:pt>
                <c:pt idx="4">
                  <c:v>Breakfast at Work/School</c:v>
                </c:pt>
                <c:pt idx="5">
                  <c:v>Mid Morning Snack</c:v>
                </c:pt>
                <c:pt idx="6">
                  <c:v>Lunch</c:v>
                </c:pt>
                <c:pt idx="7">
                  <c:v>Lunch Alternative</c:v>
                </c:pt>
                <c:pt idx="8">
                  <c:v>Afternoon Snack</c:v>
                </c:pt>
                <c:pt idx="9">
                  <c:v>After Work/School Bite</c:v>
                </c:pt>
                <c:pt idx="10">
                  <c:v>Dinner</c:v>
                </c:pt>
                <c:pt idx="11">
                  <c:v>Dinner Alternative</c:v>
                </c:pt>
                <c:pt idx="12">
                  <c:v>Evening Me</c:v>
                </c:pt>
                <c:pt idx="13">
                  <c:v>Evening We</c:v>
                </c:pt>
                <c:pt idx="14">
                  <c:v>Bedtime/Late Night Snack</c:v>
                </c:pt>
              </c:strCache>
            </c:strRef>
          </c:cat>
          <c:val>
            <c:numRef>
              <c:f>Sheet1!$C$2:$C$16</c:f>
              <c:numCache>
                <c:formatCode>0.00%</c:formatCode>
                <c:ptCount val="15"/>
                <c:pt idx="0">
                  <c:v>7.6300000000000007E-2</c:v>
                </c:pt>
                <c:pt idx="1">
                  <c:v>0.1295</c:v>
                </c:pt>
                <c:pt idx="2">
                  <c:v>0.1283</c:v>
                </c:pt>
                <c:pt idx="3">
                  <c:v>0.15579999999999999</c:v>
                </c:pt>
                <c:pt idx="4">
                  <c:v>0.1013</c:v>
                </c:pt>
                <c:pt idx="5">
                  <c:v>0.1182</c:v>
                </c:pt>
                <c:pt idx="6">
                  <c:v>3.2399999999999998E-2</c:v>
                </c:pt>
                <c:pt idx="7">
                  <c:v>0.1075</c:v>
                </c:pt>
                <c:pt idx="8">
                  <c:v>6.6000000000000003E-2</c:v>
                </c:pt>
                <c:pt idx="9">
                  <c:v>0.1014</c:v>
                </c:pt>
                <c:pt idx="10">
                  <c:v>1.8200000000000001E-2</c:v>
                </c:pt>
                <c:pt idx="11">
                  <c:v>9.8000000000000004E-2</c:v>
                </c:pt>
                <c:pt idx="12">
                  <c:v>4.8899999999999999E-2</c:v>
                </c:pt>
                <c:pt idx="13">
                  <c:v>6.8699999999999997E-2</c:v>
                </c:pt>
                <c:pt idx="14">
                  <c:v>6.51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3DA-40FD-A736-889B82CB7DA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47"/>
        <c:overlap val="-27"/>
        <c:axId val="686802624"/>
        <c:axId val="686793112"/>
      </c:barChart>
      <c:scatterChart>
        <c:scatterStyle val="lineMarker"/>
        <c:varyColors val="0"/>
        <c:dLbls>
          <c:showLegendKey val="0"/>
          <c:showVal val="1"/>
          <c:showCatName val="0"/>
          <c:showSerName val="0"/>
          <c:showPercent val="0"/>
          <c:showBubbleSize val="0"/>
        </c:dLbls>
        <c:axId val="804041288"/>
        <c:axId val="804043584"/>
        <c:extLst>
          <c:ext xmlns:c15="http://schemas.microsoft.com/office/drawing/2012/chart" uri="{02D57815-91ED-43cb-92C2-25804820EDAC}">
            <c15:filteredScatte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K Share Gains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6"/>
                  <c:spPr>
                    <a:solidFill>
                      <a:schemeClr val="lt1"/>
                    </a:solidFill>
                    <a:ln w="15875">
                      <a:solidFill>
                        <a:schemeClr val="accent5"/>
                      </a:solidFill>
                      <a:round/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dk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dk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strRef>
                    <c:extLst>
                      <c:ext uri="{02D57815-91ED-43cb-92C2-25804820EDAC}">
                        <c15:formulaRef>
                          <c15:sqref>Sheet1!$A$2:$A$16</c15:sqref>
                        </c15:formulaRef>
                      </c:ext>
                    </c:extLst>
                    <c:strCache>
                      <c:ptCount val="15"/>
                      <c:pt idx="0">
                        <c:v>TOTAL</c:v>
                      </c:pt>
                      <c:pt idx="1">
                        <c:v>Early Morning Bite</c:v>
                      </c:pt>
                      <c:pt idx="2">
                        <c:v>Breakfast For One</c:v>
                      </c:pt>
                      <c:pt idx="3">
                        <c:v>Family Breakfast</c:v>
                      </c:pt>
                      <c:pt idx="4">
                        <c:v>Breakfast at Work/School</c:v>
                      </c:pt>
                      <c:pt idx="5">
                        <c:v>Mid Morning Snack</c:v>
                      </c:pt>
                      <c:pt idx="6">
                        <c:v>Lunch</c:v>
                      </c:pt>
                      <c:pt idx="7">
                        <c:v>Lunch Alternative</c:v>
                      </c:pt>
                      <c:pt idx="8">
                        <c:v>Afternoon Snack</c:v>
                      </c:pt>
                      <c:pt idx="9">
                        <c:v>After Work/School Bite</c:v>
                      </c:pt>
                      <c:pt idx="10">
                        <c:v>Dinner</c:v>
                      </c:pt>
                      <c:pt idx="11">
                        <c:v>Dinner Alternative</c:v>
                      </c:pt>
                      <c:pt idx="12">
                        <c:v>Evening Me</c:v>
                      </c:pt>
                      <c:pt idx="13">
                        <c:v>Evening We</c:v>
                      </c:pt>
                      <c:pt idx="14">
                        <c:v>Bedtime/Late Night Snack</c:v>
                      </c:pt>
                    </c:strCache>
                  </c:strRef>
                </c:xVal>
                <c:yVal>
                  <c:numRef>
                    <c:extLst>
                      <c:ext uri="{02D57815-91ED-43cb-92C2-25804820EDAC}">
                        <c15:formulaRef>
                          <c15:sqref>Sheet1!$D$2:$D$16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1.59</c:v>
                      </c:pt>
                      <c:pt idx="1">
                        <c:v>4.54</c:v>
                      </c:pt>
                      <c:pt idx="2">
                        <c:v>0.79</c:v>
                      </c:pt>
                      <c:pt idx="3">
                        <c:v>1.99</c:v>
                      </c:pt>
                      <c:pt idx="4">
                        <c:v>-0.64</c:v>
                      </c:pt>
                      <c:pt idx="5">
                        <c:v>3.23</c:v>
                      </c:pt>
                      <c:pt idx="6">
                        <c:v>0.83</c:v>
                      </c:pt>
                      <c:pt idx="7">
                        <c:v>3.73</c:v>
                      </c:pt>
                      <c:pt idx="8">
                        <c:v>0.89</c:v>
                      </c:pt>
                      <c:pt idx="9">
                        <c:v>4.26</c:v>
                      </c:pt>
                      <c:pt idx="10">
                        <c:v>0.54</c:v>
                      </c:pt>
                      <c:pt idx="11">
                        <c:v>1.06</c:v>
                      </c:pt>
                      <c:pt idx="12">
                        <c:v>0.25</c:v>
                      </c:pt>
                      <c:pt idx="13">
                        <c:v>3.28</c:v>
                      </c:pt>
                      <c:pt idx="14">
                        <c:v>0.88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63DA-40FD-A736-889B82CB7DA0}"/>
                  </c:ext>
                </c:extLst>
              </c15:ser>
            </c15:filteredScatterSeries>
          </c:ext>
        </c:extLst>
      </c:scatterChart>
      <c:catAx>
        <c:axId val="6868026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50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686793112"/>
        <c:crosses val="autoZero"/>
        <c:auto val="1"/>
        <c:lblAlgn val="ctr"/>
        <c:lblOffset val="100"/>
        <c:noMultiLvlLbl val="0"/>
      </c:catAx>
      <c:valAx>
        <c:axId val="686793112"/>
        <c:scaling>
          <c:orientation val="minMax"/>
        </c:scaling>
        <c:delete val="1"/>
        <c:axPos val="l"/>
        <c:numFmt formatCode="##0.00%" sourceLinked="1"/>
        <c:majorTickMark val="none"/>
        <c:minorTickMark val="none"/>
        <c:tickLblPos val="nextTo"/>
        <c:crossAx val="686802624"/>
        <c:crosses val="autoZero"/>
        <c:crossBetween val="between"/>
      </c:valAx>
      <c:valAx>
        <c:axId val="804043584"/>
        <c:scaling>
          <c:orientation val="minMax"/>
        </c:scaling>
        <c:delete val="1"/>
        <c:axPos val="r"/>
        <c:numFmt formatCode="0.00%" sourceLinked="1"/>
        <c:majorTickMark val="none"/>
        <c:minorTickMark val="none"/>
        <c:tickLblPos val="nextTo"/>
        <c:crossAx val="804041288"/>
        <c:crosses val="max"/>
        <c:crossBetween val="midCat"/>
      </c:valAx>
      <c:valAx>
        <c:axId val="804041288"/>
        <c:scaling>
          <c:orientation val="minMax"/>
        </c:scaling>
        <c:delete val="1"/>
        <c:axPos val="t"/>
        <c:majorTickMark val="none"/>
        <c:minorTickMark val="none"/>
        <c:tickLblPos val="nextTo"/>
        <c:crossAx val="804043584"/>
        <c:crosses val="max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689190097992558"/>
          <c:y val="2.9169910957944471E-2"/>
          <c:w val="0.41275323790853147"/>
          <c:h val="0.148630375884981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 sz="11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056A2D-505B-4D34-8BC5-9DFCBA14EFDA}" type="datetimeFigureOut">
              <a:rPr lang="en-US" smtClean="0"/>
              <a:t>5/21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49FD32-03F2-4BA7-A69A-35BF09A473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361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0617A6-EA5C-44A5-9F1C-072D49344FF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9073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0617A6-EA5C-44A5-9F1C-072D49344FF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775616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0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567215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0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003979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0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609438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0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2072787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0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05746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0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146132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0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355261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0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796297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0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473096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0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9149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0617A6-EA5C-44A5-9F1C-072D49344FF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5559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0617A6-EA5C-44A5-9F1C-072D49344FF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2709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751E77-7B73-4490-B29F-A3FDABDDF3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1019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1673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0522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08864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3969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6692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8275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0617A6-EA5C-44A5-9F1C-072D49344FF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5898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49FD32-03F2-4BA7-A69A-35BF09A473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36437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2316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49FD32-03F2-4BA7-A69A-35BF09A473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927062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3643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40447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14304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b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RNING: Early Morning Bite, Breakfast For One, Family Breakfast, Breakfast Work/School, Mid Morning Snack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FTERNOON: Lunch, Lunch Alternative, Afternoon Snack, After Work/School Bite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VENING: Dinner, Dinner Alternative, Evening Me, Evening We, Bedtime/Late Night Snack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ALS: Breakfast For One, Family Breakfast, Breakfast Work/School, Lunch, Lunch Alternative, Dinner, Dinner Alternative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NACKS: Early Morning Bite, Mid Morning Snack, Afternoon Snack, After Work/School Bite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2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vening Me, Evening We, Bedtime/Late Night Snack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751E77-7B73-4490-B29F-A3FDABDDF33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388711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b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RNING: Early Morning Bite, Breakfast For One, Family Breakfast, Breakfast Work/School, Mid Morning Snack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FTERNOON: Lunch, Lunch Alternative, Afternoon Snack, After Work/School Bite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VENING: Dinner, Dinner Alternative, Evening Me, Evening We, Bedtime/Late Night Snack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ALS: Breakfast For One, Family Breakfast, Breakfast Work/School, Lunch, Lunch Alternative, Dinner, Dinner Alternative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NACKS: Early Morning Bite, Mid Morning Snack, Afternoon Snack, After Work/School Bite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2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vening Me, Evening We, Bedtime/Late Night Snack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751E77-7B73-4490-B29F-A3FDABDDF33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453684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885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0710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709613"/>
            <a:ext cx="6292850" cy="3540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59200" y="4628144"/>
            <a:ext cx="6738782" cy="511531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9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505BC7-9239-4A7A-93C6-B6D6C1F0E58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9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60235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754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32279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1752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23206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30637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19765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35667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88503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78492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6082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693738"/>
            <a:ext cx="6153150" cy="3462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/>
              <a:t>*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sz="1100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7F0606-6937-40B0-8A0B-637A1FAF57E7}" type="datetime4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 May 202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B260A0-A53E-47DD-9A4F-AF2CD941F6A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33014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29264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1886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45293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06425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85192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36199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02779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33656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84904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65727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709613"/>
            <a:ext cx="6292850" cy="3540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59200" y="4628144"/>
            <a:ext cx="6738782" cy="511531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9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505BC7-9239-4A7A-93C6-B6D6C1F0E58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9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183311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10848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526641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5260412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032659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02432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92158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983004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32140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9741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8632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709613"/>
            <a:ext cx="6292850" cy="3540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59200" y="4628144"/>
            <a:ext cx="6738782" cy="511531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9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505BC7-9239-4A7A-93C6-B6D6C1F0E58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9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959794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17965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80281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31284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12585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4685864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265464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013142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339783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48960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6465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A9FB45-9575-44C6-8D3B-9048CDDC13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0847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681207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034701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636272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916156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804575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254556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524966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973783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312002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830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0617A6-EA5C-44A5-9F1C-072D49344FF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169946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673344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185187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782442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179093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330997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111353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214927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36316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30004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311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0617A6-EA5C-44A5-9F1C-072D49344FF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170010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9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43795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9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211368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9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721081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9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3448348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9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993724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9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833286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9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129001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9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586157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9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277634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ADDITIONAL FILTER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49FD32-03F2-4BA7-A69A-35BF09A473DA}" type="slidenum">
              <a:rPr lang="en-US" smtClean="0"/>
              <a:t>9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819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528" cy="6855263"/>
          </a:xfrm>
          <a:prstGeom prst="rect">
            <a:avLst/>
          </a:prstGeom>
          <a:solidFill>
            <a:srgbClr val="DB1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grpSp>
        <p:nvGrpSpPr>
          <p:cNvPr id="4" name="Group 3"/>
          <p:cNvGrpSpPr/>
          <p:nvPr userDrawn="1"/>
        </p:nvGrpSpPr>
        <p:grpSpPr>
          <a:xfrm rot="5400000">
            <a:off x="6812698" y="1018570"/>
            <a:ext cx="6139714" cy="4097218"/>
            <a:chOff x="0" y="6488755"/>
            <a:chExt cx="3604717" cy="369245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6488755"/>
              <a:ext cx="3604716" cy="3692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Isosceles Triangle 19"/>
            <p:cNvSpPr/>
            <p:nvPr userDrawn="1"/>
          </p:nvSpPr>
          <p:spPr>
            <a:xfrm rot="16200000">
              <a:off x="3263520" y="6515062"/>
              <a:ext cx="367503" cy="314890"/>
            </a:xfrm>
            <a:prstGeom prst="triangle">
              <a:avLst/>
            </a:prstGeom>
            <a:solidFill>
              <a:srgbClr val="DB13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5" y="2779078"/>
            <a:ext cx="7087711" cy="82296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6235" y="3602038"/>
            <a:ext cx="7087711" cy="822960"/>
          </a:xfrm>
        </p:spPr>
        <p:txBody>
          <a:bodyPr anchor="t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4" descr="Image result for kelloggs 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8055" y="188793"/>
            <a:ext cx="89898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0672" y="6532931"/>
            <a:ext cx="444062" cy="275677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fld id="{A26DCA39-FE7E-4B33-9419-C9BB65BD88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8068055" y="817563"/>
            <a:ext cx="3642617" cy="441325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>
                <a:solidFill>
                  <a:schemeClr val="tx2"/>
                </a:solidFill>
              </a:defRPr>
            </a:lvl2pPr>
            <a:lvl3pPr marL="914400" indent="0">
              <a:buNone/>
              <a:defRPr sz="1100">
                <a:solidFill>
                  <a:schemeClr val="tx2"/>
                </a:solidFill>
              </a:defRPr>
            </a:lvl3pPr>
            <a:lvl4pPr marL="1371600" indent="0">
              <a:buNone/>
              <a:defRPr sz="1050">
                <a:solidFill>
                  <a:schemeClr val="tx2"/>
                </a:solidFill>
              </a:defRPr>
            </a:lvl4pPr>
            <a:lvl5pPr marL="1828800" indent="0">
              <a:buNone/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48025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5" y="2779078"/>
            <a:ext cx="9144000" cy="82296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6235" y="3602038"/>
            <a:ext cx="9144000" cy="822960"/>
          </a:xfrm>
        </p:spPr>
        <p:txBody>
          <a:bodyPr anchor="t"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0672" y="6532931"/>
            <a:ext cx="444062" cy="275677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A26DCA39-FE7E-4B33-9419-C9BB65BD88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52564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0672" y="6532931"/>
            <a:ext cx="444062" cy="275677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A26DCA39-FE7E-4B33-9419-C9BB65BD88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91417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0672" y="6532931"/>
            <a:ext cx="444062" cy="275677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A26DCA39-FE7E-4B33-9419-C9BB65BD88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089685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11710672" y="6532931"/>
            <a:ext cx="444062" cy="275677"/>
          </a:xfrm>
          <a:prstGeom prst="rect">
            <a:avLst/>
          </a:prstGeom>
        </p:spPr>
        <p:txBody>
          <a:bodyPr/>
          <a:lstStyle/>
          <a:p>
            <a:fld id="{8A0054E3-373C-6A40-AC7B-353BACBE9E45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1650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528" cy="6855263"/>
          </a:xfrm>
          <a:prstGeom prst="rect">
            <a:avLst/>
          </a:prstGeom>
          <a:solidFill>
            <a:srgbClr val="DB1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0" y="6488755"/>
            <a:ext cx="3604716" cy="3692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Isosceles Triangle 19"/>
          <p:cNvSpPr/>
          <p:nvPr userDrawn="1"/>
        </p:nvSpPr>
        <p:spPr>
          <a:xfrm rot="16200000">
            <a:off x="3315472" y="6567014"/>
            <a:ext cx="365760" cy="212728"/>
          </a:xfrm>
          <a:prstGeom prst="triangle">
            <a:avLst/>
          </a:prstGeom>
          <a:solidFill>
            <a:srgbClr val="DB1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5" y="2779078"/>
            <a:ext cx="9144000" cy="82296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6235" y="3602038"/>
            <a:ext cx="9144000" cy="822960"/>
          </a:xfrm>
        </p:spPr>
        <p:txBody>
          <a:bodyPr anchor="t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4" descr="Image result for kelloggs 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655" y="6521707"/>
            <a:ext cx="89898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0672" y="6532931"/>
            <a:ext cx="444062" cy="275677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fld id="{A26DCA39-FE7E-4B33-9419-C9BB65BD88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7" name="TextBox 36"/>
          <p:cNvSpPr txBox="1"/>
          <p:nvPr userDrawn="1"/>
        </p:nvSpPr>
        <p:spPr>
          <a:xfrm>
            <a:off x="10318343" y="6531038"/>
            <a:ext cx="1476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DEPLOY</a:t>
            </a:r>
            <a:r>
              <a:rPr lang="en-US" sz="1200" baseline="0" dirty="0">
                <a:solidFill>
                  <a:schemeClr val="bg1"/>
                </a:solidFill>
                <a:latin typeface="+mj-lt"/>
              </a:rPr>
              <a:t> FOR GROWTH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884463" y="6580732"/>
            <a:ext cx="488937" cy="187227"/>
            <a:chOff x="9858336" y="6580732"/>
            <a:chExt cx="488937" cy="187227"/>
          </a:xfrm>
          <a:solidFill>
            <a:schemeClr val="bg1"/>
          </a:solidFill>
        </p:grpSpPr>
        <p:sp>
          <p:nvSpPr>
            <p:cNvPr id="15" name="Isosceles Triangle 14"/>
            <p:cNvSpPr>
              <a:spLocks noChangeAspect="1"/>
            </p:cNvSpPr>
            <p:nvPr userDrawn="1"/>
          </p:nvSpPr>
          <p:spPr>
            <a:xfrm rot="5400000" flipH="1">
              <a:off x="9843721" y="6599694"/>
              <a:ext cx="182880" cy="153649"/>
            </a:xfrm>
            <a:prstGeom prst="triangl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Isosceles Triangle 15"/>
            <p:cNvSpPr>
              <a:spLocks noChangeAspect="1"/>
            </p:cNvSpPr>
            <p:nvPr userDrawn="1"/>
          </p:nvSpPr>
          <p:spPr>
            <a:xfrm rot="5400000" flipH="1">
              <a:off x="9958188" y="6595347"/>
              <a:ext cx="182880" cy="153649"/>
            </a:xfrm>
            <a:prstGeom prst="triangl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Isosceles Triangle 16"/>
            <p:cNvSpPr>
              <a:spLocks noChangeAspect="1"/>
            </p:cNvSpPr>
            <p:nvPr userDrawn="1"/>
          </p:nvSpPr>
          <p:spPr>
            <a:xfrm rot="5400000" flipH="1">
              <a:off x="10072953" y="6595347"/>
              <a:ext cx="182880" cy="153649"/>
            </a:xfrm>
            <a:prstGeom prst="triangl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>
              <a:spLocks noChangeAspect="1"/>
            </p:cNvSpPr>
            <p:nvPr userDrawn="1"/>
          </p:nvSpPr>
          <p:spPr>
            <a:xfrm rot="5400000" flipH="1">
              <a:off x="10179009" y="6595347"/>
              <a:ext cx="182880" cy="153649"/>
            </a:xfrm>
            <a:prstGeom prst="triangl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070416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5" y="2779078"/>
            <a:ext cx="9144000" cy="82296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6235" y="3602038"/>
            <a:ext cx="9144000" cy="822960"/>
          </a:xfrm>
        </p:spPr>
        <p:txBody>
          <a:bodyPr anchor="t"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0672" y="6532931"/>
            <a:ext cx="444062" cy="275677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A26DCA39-FE7E-4B33-9419-C9BB65BD88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6705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0672" y="6532931"/>
            <a:ext cx="444062" cy="275677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A26DCA39-FE7E-4B33-9419-C9BB65BD88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44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0672" y="6532931"/>
            <a:ext cx="444062" cy="275677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A26DCA39-FE7E-4B33-9419-C9BB65BD88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7220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9447"/>
            <a:ext cx="9144000" cy="92573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733" b="1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47200" y="6355774"/>
            <a:ext cx="2743200" cy="365847"/>
          </a:xfrm>
        </p:spPr>
        <p:txBody>
          <a:bodyPr/>
          <a:lstStyle>
            <a:lvl1pPr>
              <a:defRPr sz="800" b="1"/>
            </a:lvl1pPr>
          </a:lstStyle>
          <a:p>
            <a:fld id="{CC024F77-96F7-4761-A433-4D79765C41C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094278" y="2"/>
            <a:ext cx="1460377" cy="935183"/>
            <a:chOff x="4724400" y="2438400"/>
            <a:chExt cx="1095283" cy="685801"/>
          </a:xfrm>
        </p:grpSpPr>
        <p:sp>
          <p:nvSpPr>
            <p:cNvPr id="21" name="Isosceles Triangle 20"/>
            <p:cNvSpPr/>
            <p:nvPr/>
          </p:nvSpPr>
          <p:spPr>
            <a:xfrm rot="5400000">
              <a:off x="5294236" y="2598753"/>
              <a:ext cx="685800" cy="365094"/>
            </a:xfrm>
            <a:prstGeom prst="triangle">
              <a:avLst/>
            </a:prstGeom>
            <a:solidFill>
              <a:srgbClr val="0073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2" name="Isosceles Triangle 21"/>
            <p:cNvSpPr/>
            <p:nvPr/>
          </p:nvSpPr>
          <p:spPr>
            <a:xfrm rot="5400000">
              <a:off x="5102826" y="2598753"/>
              <a:ext cx="685800" cy="365094"/>
            </a:xfrm>
            <a:prstGeom prst="triangle">
              <a:avLst/>
            </a:prstGeom>
            <a:solidFill>
              <a:srgbClr val="34B233">
                <a:alpha val="7058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3" name="Isosceles Triangle 22"/>
            <p:cNvSpPr/>
            <p:nvPr/>
          </p:nvSpPr>
          <p:spPr>
            <a:xfrm rot="5400000">
              <a:off x="4929142" y="2598754"/>
              <a:ext cx="685800" cy="365094"/>
            </a:xfrm>
            <a:prstGeom prst="triangle">
              <a:avLst/>
            </a:prstGeom>
            <a:solidFill>
              <a:srgbClr val="69BE28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4" name="Isosceles Triangle 23"/>
            <p:cNvSpPr/>
            <p:nvPr/>
          </p:nvSpPr>
          <p:spPr>
            <a:xfrm rot="5400000">
              <a:off x="4737732" y="2598754"/>
              <a:ext cx="685800" cy="365094"/>
            </a:xfrm>
            <a:prstGeom prst="triangle">
              <a:avLst/>
            </a:prstGeom>
            <a:solidFill>
              <a:srgbClr val="BED600">
                <a:alpha val="5529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5" name="Isosceles Triangle 24"/>
            <p:cNvSpPr/>
            <p:nvPr/>
          </p:nvSpPr>
          <p:spPr>
            <a:xfrm rot="5400000">
              <a:off x="4564047" y="2598754"/>
              <a:ext cx="685800" cy="365094"/>
            </a:xfrm>
            <a:prstGeom prst="triangle">
              <a:avLst/>
            </a:prstGeom>
            <a:solidFill>
              <a:srgbClr val="EEAF30">
                <a:alpha val="3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 baseline="-250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2276" y="586954"/>
            <a:ext cx="721809" cy="28843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6" t="5060" r="34040" b="88879"/>
          <a:stretch/>
        </p:blipFill>
        <p:spPr>
          <a:xfrm>
            <a:off x="10146864" y="344491"/>
            <a:ext cx="1937219" cy="25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561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880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528" cy="6855263"/>
          </a:xfrm>
          <a:prstGeom prst="rect">
            <a:avLst/>
          </a:prstGeom>
          <a:solidFill>
            <a:srgbClr val="DB1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grpSp>
        <p:nvGrpSpPr>
          <p:cNvPr id="4" name="Group 3"/>
          <p:cNvGrpSpPr/>
          <p:nvPr userDrawn="1"/>
        </p:nvGrpSpPr>
        <p:grpSpPr>
          <a:xfrm rot="5400000">
            <a:off x="6812698" y="1018570"/>
            <a:ext cx="6139714" cy="4097218"/>
            <a:chOff x="0" y="6488755"/>
            <a:chExt cx="3604717" cy="369245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6488755"/>
              <a:ext cx="3604716" cy="3692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Isosceles Triangle 19"/>
            <p:cNvSpPr/>
            <p:nvPr userDrawn="1"/>
          </p:nvSpPr>
          <p:spPr>
            <a:xfrm rot="16200000">
              <a:off x="3263520" y="6515062"/>
              <a:ext cx="367503" cy="314890"/>
            </a:xfrm>
            <a:prstGeom prst="triangle">
              <a:avLst/>
            </a:prstGeom>
            <a:solidFill>
              <a:srgbClr val="DB13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5" y="2779078"/>
            <a:ext cx="7087711" cy="82296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6235" y="3602038"/>
            <a:ext cx="7087711" cy="822960"/>
          </a:xfrm>
        </p:spPr>
        <p:txBody>
          <a:bodyPr anchor="t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4" descr="Image result for kelloggs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68055" y="188793"/>
            <a:ext cx="89898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0672" y="6532931"/>
            <a:ext cx="444062" cy="275677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fld id="{A26DCA39-FE7E-4B33-9419-C9BB65BD88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8068055" y="817563"/>
            <a:ext cx="3642617" cy="441325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>
                <a:solidFill>
                  <a:schemeClr val="tx2"/>
                </a:solidFill>
              </a:defRPr>
            </a:lvl2pPr>
            <a:lvl3pPr marL="914400" indent="0">
              <a:buNone/>
              <a:defRPr sz="1100">
                <a:solidFill>
                  <a:schemeClr val="tx2"/>
                </a:solidFill>
              </a:defRPr>
            </a:lvl3pPr>
            <a:lvl4pPr marL="1371600" indent="0">
              <a:buNone/>
              <a:defRPr sz="1050">
                <a:solidFill>
                  <a:schemeClr val="tx2"/>
                </a:solidFill>
              </a:defRPr>
            </a:lvl4pPr>
            <a:lvl5pPr marL="1828800" indent="0">
              <a:buNone/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160741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528" cy="6855263"/>
          </a:xfrm>
          <a:prstGeom prst="rect">
            <a:avLst/>
          </a:prstGeom>
          <a:solidFill>
            <a:srgbClr val="DB1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0" y="6488755"/>
            <a:ext cx="3604716" cy="3692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Isosceles Triangle 19"/>
          <p:cNvSpPr/>
          <p:nvPr userDrawn="1"/>
        </p:nvSpPr>
        <p:spPr>
          <a:xfrm rot="16200000">
            <a:off x="3315472" y="6567014"/>
            <a:ext cx="365760" cy="212728"/>
          </a:xfrm>
          <a:prstGeom prst="triangle">
            <a:avLst/>
          </a:prstGeom>
          <a:solidFill>
            <a:srgbClr val="DB1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5" y="2779078"/>
            <a:ext cx="9144000" cy="82296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6235" y="3602038"/>
            <a:ext cx="9144000" cy="822960"/>
          </a:xfrm>
        </p:spPr>
        <p:txBody>
          <a:bodyPr anchor="t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4" descr="Image result for kelloggs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2655" y="6521707"/>
            <a:ext cx="89898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0672" y="6532931"/>
            <a:ext cx="444062" cy="275677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fld id="{A26DCA39-FE7E-4B33-9419-C9BB65BD88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7" name="TextBox 36"/>
          <p:cNvSpPr txBox="1"/>
          <p:nvPr userDrawn="1"/>
        </p:nvSpPr>
        <p:spPr>
          <a:xfrm>
            <a:off x="10318343" y="6531038"/>
            <a:ext cx="1476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DEPLOY</a:t>
            </a:r>
            <a:r>
              <a:rPr lang="en-US" sz="1200" baseline="0" dirty="0">
                <a:solidFill>
                  <a:schemeClr val="bg1"/>
                </a:solidFill>
                <a:latin typeface="+mj-lt"/>
              </a:rPr>
              <a:t> FOR GROWTH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884463" y="6580732"/>
            <a:ext cx="488937" cy="187227"/>
            <a:chOff x="9858336" y="6580732"/>
            <a:chExt cx="488937" cy="187227"/>
          </a:xfrm>
          <a:solidFill>
            <a:schemeClr val="bg1"/>
          </a:solidFill>
        </p:grpSpPr>
        <p:sp>
          <p:nvSpPr>
            <p:cNvPr id="15" name="Isosceles Triangle 14"/>
            <p:cNvSpPr>
              <a:spLocks noChangeAspect="1"/>
            </p:cNvSpPr>
            <p:nvPr userDrawn="1"/>
          </p:nvSpPr>
          <p:spPr>
            <a:xfrm rot="5400000" flipH="1">
              <a:off x="9843721" y="6599694"/>
              <a:ext cx="182880" cy="153649"/>
            </a:xfrm>
            <a:prstGeom prst="triangl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Isosceles Triangle 15"/>
            <p:cNvSpPr>
              <a:spLocks noChangeAspect="1"/>
            </p:cNvSpPr>
            <p:nvPr userDrawn="1"/>
          </p:nvSpPr>
          <p:spPr>
            <a:xfrm rot="5400000" flipH="1">
              <a:off x="9958188" y="6595347"/>
              <a:ext cx="182880" cy="153649"/>
            </a:xfrm>
            <a:prstGeom prst="triangl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Isosceles Triangle 16"/>
            <p:cNvSpPr>
              <a:spLocks noChangeAspect="1"/>
            </p:cNvSpPr>
            <p:nvPr userDrawn="1"/>
          </p:nvSpPr>
          <p:spPr>
            <a:xfrm rot="5400000" flipH="1">
              <a:off x="10072953" y="6595347"/>
              <a:ext cx="182880" cy="153649"/>
            </a:xfrm>
            <a:prstGeom prst="triangl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>
              <a:spLocks noChangeAspect="1"/>
            </p:cNvSpPr>
            <p:nvPr userDrawn="1"/>
          </p:nvSpPr>
          <p:spPr>
            <a:xfrm rot="5400000" flipH="1">
              <a:off x="10179009" y="6595347"/>
              <a:ext cx="182880" cy="153649"/>
            </a:xfrm>
            <a:prstGeom prst="triangl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6242545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0" progId="TCLayout.ActiveDocument.1">
                  <p:embed/>
                </p:oleObj>
              </mc:Choice>
              <mc:Fallback>
                <p:oleObj name="think-cell Slide" r:id="rId11" imgW="473" imgH="4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0" i="0" baseline="0" dirty="0"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488755"/>
            <a:ext cx="3604716" cy="3692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720" y="365125"/>
            <a:ext cx="10536700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6720" y="1421150"/>
            <a:ext cx="1133856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4" descr="Image result for kelloggs logo"/>
          <p:cNvPicPr>
            <a:picLocks noChangeAspect="1" noChangeArrowheads="1"/>
          </p:cNvPicPr>
          <p:nvPr userDrawn="1"/>
        </p:nvPicPr>
        <p:blipFill>
          <a:blip r:embed="rId13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655" y="6521707"/>
            <a:ext cx="89898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0672" y="6532931"/>
            <a:ext cx="444062" cy="275677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A26DCA39-FE7E-4B33-9419-C9BB65BD88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sosceles Triangle 6"/>
          <p:cNvSpPr/>
          <p:nvPr userDrawn="1"/>
        </p:nvSpPr>
        <p:spPr>
          <a:xfrm rot="16200000">
            <a:off x="3315472" y="6567014"/>
            <a:ext cx="365760" cy="212728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9884463" y="6580732"/>
            <a:ext cx="488937" cy="187227"/>
            <a:chOff x="9858336" y="6580732"/>
            <a:chExt cx="488937" cy="187227"/>
          </a:xfrm>
        </p:grpSpPr>
        <p:sp>
          <p:nvSpPr>
            <p:cNvPr id="14" name="Isosceles Triangle 13"/>
            <p:cNvSpPr>
              <a:spLocks noChangeAspect="1"/>
            </p:cNvSpPr>
            <p:nvPr userDrawn="1"/>
          </p:nvSpPr>
          <p:spPr>
            <a:xfrm rot="5400000" flipH="1">
              <a:off x="9843721" y="6599694"/>
              <a:ext cx="182880" cy="153649"/>
            </a:xfrm>
            <a:prstGeom prst="triangle">
              <a:avLst/>
            </a:prstGeom>
            <a:solidFill>
              <a:srgbClr val="DB134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Isosceles Triangle 29"/>
            <p:cNvSpPr>
              <a:spLocks noChangeAspect="1"/>
            </p:cNvSpPr>
            <p:nvPr userDrawn="1"/>
          </p:nvSpPr>
          <p:spPr>
            <a:xfrm rot="5400000" flipH="1">
              <a:off x="9958188" y="6595347"/>
              <a:ext cx="182880" cy="153649"/>
            </a:xfrm>
            <a:prstGeom prst="triangle">
              <a:avLst/>
            </a:prstGeom>
            <a:solidFill>
              <a:srgbClr val="DB134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Isosceles Triangle 30"/>
            <p:cNvSpPr>
              <a:spLocks noChangeAspect="1"/>
            </p:cNvSpPr>
            <p:nvPr userDrawn="1"/>
          </p:nvSpPr>
          <p:spPr>
            <a:xfrm rot="5400000" flipH="1">
              <a:off x="10072953" y="6595347"/>
              <a:ext cx="182880" cy="153649"/>
            </a:xfrm>
            <a:prstGeom prst="triangle">
              <a:avLst/>
            </a:prstGeom>
            <a:solidFill>
              <a:srgbClr val="DB134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Isosceles Triangle 31"/>
            <p:cNvSpPr>
              <a:spLocks noChangeAspect="1"/>
            </p:cNvSpPr>
            <p:nvPr userDrawn="1"/>
          </p:nvSpPr>
          <p:spPr>
            <a:xfrm rot="5400000" flipH="1">
              <a:off x="10179009" y="6595347"/>
              <a:ext cx="182880" cy="153649"/>
            </a:xfrm>
            <a:prstGeom prst="triangle">
              <a:avLst/>
            </a:prstGeom>
            <a:solidFill>
              <a:srgbClr val="DB134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3" name="TextBox 32"/>
          <p:cNvSpPr txBox="1"/>
          <p:nvPr userDrawn="1"/>
        </p:nvSpPr>
        <p:spPr>
          <a:xfrm>
            <a:off x="10318343" y="6531038"/>
            <a:ext cx="1476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DB1348"/>
                </a:solidFill>
                <a:latin typeface="+mj-lt"/>
              </a:rPr>
              <a:t>DEPLOY</a:t>
            </a:r>
            <a:r>
              <a:rPr lang="en-US" sz="1200" baseline="0" dirty="0">
                <a:solidFill>
                  <a:srgbClr val="DB1348"/>
                </a:solidFill>
                <a:latin typeface="+mj-lt"/>
              </a:rPr>
              <a:t> FOR GROWTH</a:t>
            </a:r>
            <a:endParaRPr lang="en-US" sz="1200" dirty="0">
              <a:solidFill>
                <a:srgbClr val="DB1348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6987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DB1348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0" progId="TCLayout.ActiveDocument.1">
                  <p:embed/>
                </p:oleObj>
              </mc:Choice>
              <mc:Fallback>
                <p:oleObj name="think-cell Slide" r:id="rId10" imgW="473" imgH="4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0" i="0" baseline="0" dirty="0">
              <a:latin typeface="Franklin Gothic Medium Cond" panose="020B0606030402020204" pitchFamily="34" charset="0"/>
              <a:cs typeface="Arial" panose="020B0604020202020204" pitchFamily="34" charset="0"/>
              <a:sym typeface="Franklin Gothic Medium Cond" panose="020B06060304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488755"/>
            <a:ext cx="3604716" cy="3692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720" y="365125"/>
            <a:ext cx="10536700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6720" y="1421150"/>
            <a:ext cx="1133856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4" descr="Image result for kelloggs logo"/>
          <p:cNvPicPr>
            <a:picLocks noChangeAspect="1" noChangeArrowheads="1"/>
          </p:cNvPicPr>
          <p:nvPr userDrawn="1"/>
        </p:nvPicPr>
        <p:blipFill>
          <a:blip r:embed="rId1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2655" y="6521707"/>
            <a:ext cx="89898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sosceles Triangle 6"/>
          <p:cNvSpPr/>
          <p:nvPr userDrawn="1"/>
        </p:nvSpPr>
        <p:spPr>
          <a:xfrm rot="16200000">
            <a:off x="3315472" y="6567014"/>
            <a:ext cx="365760" cy="212728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9884463" y="6580732"/>
            <a:ext cx="488937" cy="187227"/>
            <a:chOff x="9858336" y="6580732"/>
            <a:chExt cx="488937" cy="187227"/>
          </a:xfrm>
        </p:grpSpPr>
        <p:sp>
          <p:nvSpPr>
            <p:cNvPr id="14" name="Isosceles Triangle 13"/>
            <p:cNvSpPr>
              <a:spLocks noChangeAspect="1"/>
            </p:cNvSpPr>
            <p:nvPr userDrawn="1"/>
          </p:nvSpPr>
          <p:spPr>
            <a:xfrm rot="5400000" flipH="1">
              <a:off x="9843721" y="6599694"/>
              <a:ext cx="182880" cy="153649"/>
            </a:xfrm>
            <a:prstGeom prst="triangle">
              <a:avLst/>
            </a:prstGeom>
            <a:solidFill>
              <a:srgbClr val="DB134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Isosceles Triangle 29"/>
            <p:cNvSpPr>
              <a:spLocks noChangeAspect="1"/>
            </p:cNvSpPr>
            <p:nvPr userDrawn="1"/>
          </p:nvSpPr>
          <p:spPr>
            <a:xfrm rot="5400000" flipH="1">
              <a:off x="9958188" y="6595347"/>
              <a:ext cx="182880" cy="153649"/>
            </a:xfrm>
            <a:prstGeom prst="triangle">
              <a:avLst/>
            </a:prstGeom>
            <a:solidFill>
              <a:srgbClr val="DB134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Isosceles Triangle 30"/>
            <p:cNvSpPr>
              <a:spLocks noChangeAspect="1"/>
            </p:cNvSpPr>
            <p:nvPr userDrawn="1"/>
          </p:nvSpPr>
          <p:spPr>
            <a:xfrm rot="5400000" flipH="1">
              <a:off x="10072953" y="6595347"/>
              <a:ext cx="182880" cy="153649"/>
            </a:xfrm>
            <a:prstGeom prst="triangle">
              <a:avLst/>
            </a:prstGeom>
            <a:solidFill>
              <a:srgbClr val="DB134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Isosceles Triangle 31"/>
            <p:cNvSpPr>
              <a:spLocks noChangeAspect="1"/>
            </p:cNvSpPr>
            <p:nvPr userDrawn="1"/>
          </p:nvSpPr>
          <p:spPr>
            <a:xfrm rot="5400000" flipH="1">
              <a:off x="10179009" y="6595347"/>
              <a:ext cx="182880" cy="153649"/>
            </a:xfrm>
            <a:prstGeom prst="triangle">
              <a:avLst/>
            </a:prstGeom>
            <a:solidFill>
              <a:srgbClr val="DB134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3" name="TextBox 32"/>
          <p:cNvSpPr txBox="1"/>
          <p:nvPr userDrawn="1"/>
        </p:nvSpPr>
        <p:spPr>
          <a:xfrm>
            <a:off x="10318343" y="6531038"/>
            <a:ext cx="1476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DB1348"/>
                </a:solidFill>
                <a:latin typeface="+mj-lt"/>
              </a:rPr>
              <a:t>DEPLOY</a:t>
            </a:r>
            <a:r>
              <a:rPr lang="en-US" sz="1200" baseline="0" dirty="0">
                <a:solidFill>
                  <a:srgbClr val="DB1348"/>
                </a:solidFill>
                <a:latin typeface="+mj-lt"/>
              </a:rPr>
              <a:t> FOR GROWTH</a:t>
            </a:r>
            <a:endParaRPr lang="en-US" sz="1200" dirty="0">
              <a:solidFill>
                <a:srgbClr val="DB1348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04043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700" r:id="rId6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DB1348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notesSlide" Target="../notesSlides/notesSlide100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notesSlide" Target="../notesSlides/notesSlide101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notesSlide" Target="../notesSlides/notesSlide102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notesSlide" Target="../notesSlides/notesSlide103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notesSlide" Target="../notesSlides/notesSlide104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notesSlide" Target="../notesSlides/notesSlide105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notesSlide" Target="../notesSlides/notesSlide106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notesSlide" Target="../notesSlides/notesSlide107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108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notesSlide" Target="../notesSlides/notesSlide10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5" Type="http://schemas.microsoft.com/office/2007/relationships/hdphoto" Target="../media/hdphoto1.wdp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3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3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3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3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4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4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4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4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4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4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5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5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5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5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5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5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5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5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58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60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61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6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6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64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65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66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6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notesSlide" Target="../notesSlides/notesSlide68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6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notesSlide" Target="../notesSlides/notesSlide70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7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7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notesSlide" Target="../notesSlides/notesSlide73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74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75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76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7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78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notesSlide" Target="../notesSlides/notesSlide7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8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notesSlide" Target="../notesSlides/notesSlide81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notesSlide" Target="../notesSlides/notesSlide8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83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notesSlide" Target="../notesSlides/notesSlide8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notesSlide" Target="../notesSlides/notesSlide85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86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87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88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8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notesSlide" Target="../notesSlides/notesSlide9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notesSlide" Target="../notesSlides/notesSlide91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notesSlide" Target="../notesSlides/notesSlide9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notesSlide" Target="../notesSlides/notesSlide93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notesSlide" Target="../notesSlides/notesSlide9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notesSlide" Target="../notesSlides/notesSlide95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notesSlide" Target="../notesSlides/notesSlide96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notesSlide" Target="../notesSlides/notesSlide97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notesSlide" Target="../notesSlides/notesSlide98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notesSlide" Target="../notesSlides/notesSlide9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5092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5400" dirty="0"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5" y="2259787"/>
            <a:ext cx="9144000" cy="822960"/>
          </a:xfrm>
        </p:spPr>
        <p:txBody>
          <a:bodyPr>
            <a:normAutofit fontScale="90000"/>
          </a:bodyPr>
          <a:lstStyle/>
          <a:p>
            <a:r>
              <a:rPr lang="en-US" dirty="0"/>
              <a:t>Occasions Trend Report</a:t>
            </a:r>
          </a:p>
        </p:txBody>
      </p:sp>
      <p:sp>
        <p:nvSpPr>
          <p:cNvPr id="11" name="Countries">
            <a:extLst>
              <a:ext uri="{FF2B5EF4-FFF2-40B4-BE49-F238E27FC236}">
                <a16:creationId xmlns:a16="http://schemas.microsoft.com/office/drawing/2014/main" id="{A1F2F05F-C674-484C-AAE6-D7FF660EE2C9}"/>
              </a:ext>
            </a:extLst>
          </p:cNvPr>
          <p:cNvSpPr txBox="1"/>
          <p:nvPr/>
        </p:nvSpPr>
        <p:spPr>
          <a:xfrm>
            <a:off x="746234" y="4266067"/>
            <a:ext cx="10373239" cy="610774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[insert Countries]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964F909A-1DC5-4B6E-B68B-99D6505884CC}"/>
              </a:ext>
            </a:extLst>
          </p:cNvPr>
          <p:cNvSpPr txBox="1"/>
          <p:nvPr/>
        </p:nvSpPr>
        <p:spPr>
          <a:xfrm>
            <a:off x="746234" y="5559772"/>
            <a:ext cx="11013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[insert date]</a:t>
            </a:r>
          </a:p>
        </p:txBody>
      </p:sp>
      <p:sp>
        <p:nvSpPr>
          <p:cNvPr id="17" name="Filter">
            <a:extLst>
              <a:ext uri="{FF2B5EF4-FFF2-40B4-BE49-F238E27FC236}">
                <a16:creationId xmlns:a16="http://schemas.microsoft.com/office/drawing/2014/main" id="{77277A92-3F10-4997-A8EF-00369BC9C6CB}"/>
              </a:ext>
            </a:extLst>
          </p:cNvPr>
          <p:cNvSpPr txBox="1"/>
          <p:nvPr/>
        </p:nvSpPr>
        <p:spPr>
          <a:xfrm>
            <a:off x="2420009" y="4878108"/>
            <a:ext cx="8719046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dirty="0">
                <a:solidFill>
                  <a:prstClr val="white"/>
                </a:solidFill>
                <a:latin typeface="Franklin Gothic Medium Cond"/>
              </a:rPr>
              <a:t>&lt;Additional Filter&gt;</a:t>
            </a:r>
            <a:endParaRPr lang="en-IN" sz="1600" dirty="0">
              <a:solidFill>
                <a:prstClr val="white"/>
              </a:solidFill>
              <a:latin typeface="Franklin Gothic Medium Cond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6AA1A7-D36B-461F-8542-D763A80B7D23}"/>
              </a:ext>
            </a:extLst>
          </p:cNvPr>
          <p:cNvSpPr txBox="1"/>
          <p:nvPr/>
        </p:nvSpPr>
        <p:spPr>
          <a:xfrm>
            <a:off x="746234" y="4878108"/>
            <a:ext cx="14648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Franklin Gothic Medium Cond"/>
              </a:rPr>
              <a:t>Additional Filter </a:t>
            </a:r>
            <a:r>
              <a:rPr lang="en-IN" sz="1600" dirty="0">
                <a:solidFill>
                  <a:prstClr val="white"/>
                </a:solidFill>
                <a:latin typeface="Franklin Gothic Medium Cond"/>
              </a:rPr>
              <a:t>:</a:t>
            </a:r>
          </a:p>
        </p:txBody>
      </p:sp>
      <p:sp>
        <p:nvSpPr>
          <p:cNvPr id="15" name="Time Period">
            <a:extLst>
              <a:ext uri="{FF2B5EF4-FFF2-40B4-BE49-F238E27FC236}">
                <a16:creationId xmlns:a16="http://schemas.microsoft.com/office/drawing/2014/main" id="{4FFF7D38-B1A5-4767-BE6B-7529B21B367D}"/>
              </a:ext>
            </a:extLst>
          </p:cNvPr>
          <p:cNvSpPr txBox="1"/>
          <p:nvPr/>
        </p:nvSpPr>
        <p:spPr>
          <a:xfrm>
            <a:off x="746234" y="3195128"/>
            <a:ext cx="18346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Quarter-Over-Quarter: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</p:txBody>
      </p:sp>
      <p:sp>
        <p:nvSpPr>
          <p:cNvPr id="16" name="QoQ">
            <a:extLst>
              <a:ext uri="{FF2B5EF4-FFF2-40B4-BE49-F238E27FC236}">
                <a16:creationId xmlns:a16="http://schemas.microsoft.com/office/drawing/2014/main" id="{4800DBA8-AAE3-4F2B-B3DF-28CE9B100DF8}"/>
              </a:ext>
            </a:extLst>
          </p:cNvPr>
          <p:cNvSpPr txBox="1"/>
          <p:nvPr/>
        </p:nvSpPr>
        <p:spPr>
          <a:xfrm>
            <a:off x="2420009" y="3195128"/>
            <a:ext cx="87190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[insert Time Period]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</p:txBody>
      </p:sp>
      <p:sp>
        <p:nvSpPr>
          <p:cNvPr id="20" name="Time Period">
            <a:extLst>
              <a:ext uri="{FF2B5EF4-FFF2-40B4-BE49-F238E27FC236}">
                <a16:creationId xmlns:a16="http://schemas.microsoft.com/office/drawing/2014/main" id="{CD5B88AE-2171-4B7C-8509-9B8FE227C358}"/>
              </a:ext>
            </a:extLst>
          </p:cNvPr>
          <p:cNvSpPr txBox="1"/>
          <p:nvPr/>
        </p:nvSpPr>
        <p:spPr>
          <a:xfrm>
            <a:off x="746234" y="3723971"/>
            <a:ext cx="13181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Franklin Gothic Medium Cond"/>
              </a:rPr>
              <a:t>Yea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</a:rPr>
              <a:t>-Over-</a:t>
            </a:r>
            <a:r>
              <a:rPr lang="en-US" sz="1600" dirty="0">
                <a:solidFill>
                  <a:prstClr val="white"/>
                </a:solidFill>
                <a:latin typeface="Franklin Gothic Medium Cond"/>
              </a:rPr>
              <a:t>Ye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</a:rPr>
              <a:t>r: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</a:endParaRPr>
          </a:p>
        </p:txBody>
      </p:sp>
      <p:sp>
        <p:nvSpPr>
          <p:cNvPr id="21" name="YOY">
            <a:extLst>
              <a:ext uri="{FF2B5EF4-FFF2-40B4-BE49-F238E27FC236}">
                <a16:creationId xmlns:a16="http://schemas.microsoft.com/office/drawing/2014/main" id="{CCFC9AE8-A28F-4E98-BA6E-D185C5A52420}"/>
              </a:ext>
            </a:extLst>
          </p:cNvPr>
          <p:cNvSpPr txBox="1"/>
          <p:nvPr/>
        </p:nvSpPr>
        <p:spPr>
          <a:xfrm>
            <a:off x="2420009" y="3723971"/>
            <a:ext cx="87190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[insert Time Period]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FD13F2-C706-46DD-A8A7-8134D718AE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8783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2287999"/>
            <a:ext cx="12191999" cy="38251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829883">
            <a:off x="9761977" y="3164074"/>
            <a:ext cx="1426991" cy="205599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9423734">
            <a:off x="1058807" y="3125952"/>
            <a:ext cx="1521728" cy="197167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43069" y="1338194"/>
            <a:ext cx="470875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An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DC2347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Occasi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 can happen any day at any point across the year – opening up big, consistent opportunities</a:t>
            </a:r>
          </a:p>
        </p:txBody>
      </p:sp>
      <p:sp>
        <p:nvSpPr>
          <p:cNvPr id="7" name="Rectangle 6"/>
          <p:cNvSpPr/>
          <p:nvPr/>
        </p:nvSpPr>
        <p:spPr>
          <a:xfrm>
            <a:off x="7415407" y="1338194"/>
            <a:ext cx="430871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DC2347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Seasonal Event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are time bound, calendar-based windows with limited range of opportunity</a:t>
            </a:r>
          </a:p>
        </p:txBody>
      </p:sp>
      <p:sp>
        <p:nvSpPr>
          <p:cNvPr id="75" name="Rectangle 74"/>
          <p:cNvSpPr/>
          <p:nvPr/>
        </p:nvSpPr>
        <p:spPr>
          <a:xfrm>
            <a:off x="1227551" y="2369413"/>
            <a:ext cx="96269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Consider the Stationery Examp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680969">
            <a:off x="4241074" y="3150098"/>
            <a:ext cx="1247775" cy="177848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1134854">
            <a:off x="2646214" y="3053913"/>
            <a:ext cx="1500132" cy="193982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9596292">
            <a:off x="7405417" y="3253796"/>
            <a:ext cx="1425991" cy="195510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49434" y="2956621"/>
            <a:ext cx="1384306" cy="211172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88086" y="4556264"/>
            <a:ext cx="2118478" cy="131004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78588" y="4432593"/>
            <a:ext cx="1996090" cy="1254836"/>
          </a:xfrm>
          <a:prstGeom prst="rect">
            <a:avLst/>
          </a:prstGeom>
        </p:spPr>
      </p:pic>
      <p:sp>
        <p:nvSpPr>
          <p:cNvPr id="19" name="Title 4">
            <a:extLst>
              <a:ext uri="{FF2B5EF4-FFF2-40B4-BE49-F238E27FC236}">
                <a16:creationId xmlns:a16="http://schemas.microsoft.com/office/drawing/2014/main" id="{23FEAA82-E19A-42F8-89C3-17663868E348}"/>
              </a:ext>
            </a:extLst>
          </p:cNvPr>
          <p:cNvSpPr txBox="1">
            <a:spLocks/>
          </p:cNvSpPr>
          <p:nvPr/>
        </p:nvSpPr>
        <p:spPr>
          <a:xfrm>
            <a:off x="121642" y="311588"/>
            <a:ext cx="1207035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0" i="0" u="none" strike="noStrike" kern="1200" cap="none" spc="0" normalizeH="0" baseline="0" noProof="0" dirty="0">
                <a:ln>
                  <a:noFill/>
                </a:ln>
                <a:solidFill>
                  <a:srgbClr val="DB1348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Occasion V. Seasonal Event:  </a:t>
            </a:r>
            <a:r>
              <a: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We need both, but let’s not confuse them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Medium Cond"/>
              <a:ea typeface="+mj-ea"/>
              <a:cs typeface="+mj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8C9E9A-1C96-4F8F-933B-3E1E9221BD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805508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0598348"/>
              </p:ext>
            </p:extLst>
          </p:nvPr>
        </p:nvGraphicFramePr>
        <p:xfrm>
          <a:off x="3406753" y="1238435"/>
          <a:ext cx="8309192" cy="2190565"/>
        </p:xfrm>
        <a:graphic>
          <a:graphicData uri="http://schemas.openxmlformats.org/drawingml/2006/table">
            <a:tbl>
              <a:tblPr/>
              <a:tblGrid>
                <a:gridCol w="249360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4294716811"/>
                    </a:ext>
                  </a:extLst>
                </a:gridCol>
              </a:tblGrid>
              <a:tr h="3017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lternativ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8925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5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5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 Benef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5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5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5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046434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9E6895E6-DB77-420F-9312-D027527E6CF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0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2339" y="48336"/>
            <a:ext cx="14398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Lunch &amp; Dinner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5558647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9511631"/>
              </p:ext>
            </p:extLst>
          </p:nvPr>
        </p:nvGraphicFramePr>
        <p:xfrm>
          <a:off x="3344117" y="1238435"/>
          <a:ext cx="8309192" cy="2190565"/>
        </p:xfrm>
        <a:graphic>
          <a:graphicData uri="http://schemas.openxmlformats.org/drawingml/2006/table">
            <a:tbl>
              <a:tblPr/>
              <a:tblGrid>
                <a:gridCol w="249360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4294716811"/>
                    </a:ext>
                  </a:extLst>
                </a:gridCol>
              </a:tblGrid>
              <a:tr h="3017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8925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 Benef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046434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9E6895E6-DB77-420F-9312-D027527E6CF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2339" y="48336"/>
            <a:ext cx="14398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Lunch &amp; Dinner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01351118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9623450"/>
              </p:ext>
            </p:extLst>
          </p:nvPr>
        </p:nvGraphicFramePr>
        <p:xfrm>
          <a:off x="3712465" y="758199"/>
          <a:ext cx="8005980" cy="5328990"/>
        </p:xfrm>
        <a:graphic>
          <a:graphicData uri="http://schemas.openxmlformats.org/drawingml/2006/table">
            <a:tbl>
              <a:tblPr/>
              <a:tblGrid>
                <a:gridCol w="2400544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01359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01359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01359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01359">
                  <a:extLst>
                    <a:ext uri="{9D8B030D-6E8A-4147-A177-3AD203B41FA5}">
                      <a16:colId xmlns:a16="http://schemas.microsoft.com/office/drawing/2014/main" val="976072134"/>
                    </a:ext>
                  </a:extLst>
                </a:gridCol>
              </a:tblGrid>
              <a:tr h="2855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lternativ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26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a strong, intense 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simple and 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prote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fi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no artificial flavors/colors/preservativ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low in salt/so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from natural ingr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with whole gra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visible 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no artificial sweete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low/no sug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fresh/freshly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higher quality / 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t is not intru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es not make a m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sy to eat with one h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47076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tailed 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FA432D99-BB3D-403F-B45B-AF9BF2BAC1D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2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2339" y="48336"/>
            <a:ext cx="14398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Lunch &amp; Dinner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15762472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9149804"/>
              </p:ext>
            </p:extLst>
          </p:nvPr>
        </p:nvGraphicFramePr>
        <p:xfrm>
          <a:off x="3631286" y="823600"/>
          <a:ext cx="8054107" cy="5210800"/>
        </p:xfrm>
        <a:graphic>
          <a:graphicData uri="http://schemas.openxmlformats.org/drawingml/2006/table">
            <a:tbl>
              <a:tblPr/>
              <a:tblGrid>
                <a:gridCol w="245869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398854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398854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398854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398854">
                  <a:extLst>
                    <a:ext uri="{9D8B030D-6E8A-4147-A177-3AD203B41FA5}">
                      <a16:colId xmlns:a16="http://schemas.microsoft.com/office/drawing/2014/main" val="976072134"/>
                    </a:ext>
                  </a:extLst>
                </a:gridCol>
              </a:tblGrid>
              <a:tr h="2855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26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a strong, intense 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simple and 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prote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fi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no artificial flavors/colors/preservativ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low in salt/so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from natural ingr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with whole gra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visible 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no artificial sweete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low/no sug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fresh/freshly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higher quality / 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t is not intru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es not make a m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sy to eat with one h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47076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tailed 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FA432D99-BB3D-403F-B45B-AF9BF2BAC1D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2339" y="48336"/>
            <a:ext cx="14398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Lunch &amp; Dinner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59624860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4231792"/>
              </p:ext>
            </p:extLst>
          </p:nvPr>
        </p:nvGraphicFramePr>
        <p:xfrm>
          <a:off x="3703321" y="885250"/>
          <a:ext cx="8307491" cy="4727274"/>
        </p:xfrm>
        <a:graphic>
          <a:graphicData uri="http://schemas.openxmlformats.org/drawingml/2006/table">
            <a:tbl>
              <a:tblPr/>
              <a:tblGrid>
                <a:gridCol w="232851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94745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94745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94745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94745">
                  <a:extLst>
                    <a:ext uri="{9D8B030D-6E8A-4147-A177-3AD203B41FA5}">
                      <a16:colId xmlns:a16="http://schemas.microsoft.com/office/drawing/2014/main" val="2494351350"/>
                    </a:ext>
                  </a:extLst>
                </a:gridCol>
              </a:tblGrid>
              <a:tr h="3940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lternativ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161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y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utine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b &amp; G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amily Enjoy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Buy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nned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at/Reward for Me or my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ecific 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 from a multi-pack/bag/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larger/sharing/multi-serve pack/bag/box/t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37932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Shopper Mission &amp; Packaging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24518" y="5726529"/>
            <a:ext cx="77182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ackaging asked of packaged categories only, excludes categories such as fruits/veggies, sweet baked goods, main meal foods, etc.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DE7CF71-030F-40AF-AF00-B94D3E682DD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4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339" y="48336"/>
            <a:ext cx="14398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Lunch &amp; Dinner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3" name="NA">
            <a:extLst>
              <a:ext uri="{FF2B5EF4-FFF2-40B4-BE49-F238E27FC236}">
                <a16:creationId xmlns:a16="http://schemas.microsoft.com/office/drawing/2014/main" id="{AAA97E2E-20E4-4FCA-9C2A-1B3EF0739F0C}"/>
              </a:ext>
            </a:extLst>
          </p:cNvPr>
          <p:cNvSpPr txBox="1"/>
          <p:nvPr/>
        </p:nvSpPr>
        <p:spPr>
          <a:xfrm>
            <a:off x="6500855" y="2585264"/>
            <a:ext cx="39756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                  Not Applicable</a:t>
            </a:r>
          </a:p>
        </p:txBody>
      </p:sp>
    </p:spTree>
    <p:extLst>
      <p:ext uri="{BB962C8B-B14F-4D97-AF65-F5344CB8AC3E}">
        <p14:creationId xmlns:p14="http://schemas.microsoft.com/office/powerpoint/2010/main" val="561272658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9600112"/>
              </p:ext>
            </p:extLst>
          </p:nvPr>
        </p:nvGraphicFramePr>
        <p:xfrm>
          <a:off x="3703321" y="840088"/>
          <a:ext cx="8307493" cy="4727274"/>
        </p:xfrm>
        <a:graphic>
          <a:graphicData uri="http://schemas.openxmlformats.org/drawingml/2006/table">
            <a:tbl>
              <a:tblPr/>
              <a:tblGrid>
                <a:gridCol w="2344553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90735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90735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90735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90735">
                  <a:extLst>
                    <a:ext uri="{9D8B030D-6E8A-4147-A177-3AD203B41FA5}">
                      <a16:colId xmlns:a16="http://schemas.microsoft.com/office/drawing/2014/main" val="2494351350"/>
                    </a:ext>
                  </a:extLst>
                </a:gridCol>
              </a:tblGrid>
              <a:tr h="3940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161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y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utine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b &amp; G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amily Enjoy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Buy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nned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at/Reward for Me or my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ecific 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 from a multi-pack/bag/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larger/sharing/multi-serve pack/bag/box/t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37932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Shopper Mission &amp; Packaging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24518" y="5726529"/>
            <a:ext cx="77182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ackaging asked of packaged categories only, excludes categories such as fruits/veggies, sweet baked goods, main meal foods, etc.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DE7CF71-030F-40AF-AF00-B94D3E682DD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339" y="48336"/>
            <a:ext cx="14398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Lunch &amp; Dinner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3" name="NA">
            <a:extLst>
              <a:ext uri="{FF2B5EF4-FFF2-40B4-BE49-F238E27FC236}">
                <a16:creationId xmlns:a16="http://schemas.microsoft.com/office/drawing/2014/main" id="{39349FDC-623D-424F-9422-BEF4C228C56C}"/>
              </a:ext>
            </a:extLst>
          </p:cNvPr>
          <p:cNvSpPr txBox="1"/>
          <p:nvPr/>
        </p:nvSpPr>
        <p:spPr>
          <a:xfrm>
            <a:off x="6273421" y="2585264"/>
            <a:ext cx="39756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                  Not Applicable</a:t>
            </a:r>
          </a:p>
        </p:txBody>
      </p:sp>
    </p:spTree>
    <p:extLst>
      <p:ext uri="{BB962C8B-B14F-4D97-AF65-F5344CB8AC3E}">
        <p14:creationId xmlns:p14="http://schemas.microsoft.com/office/powerpoint/2010/main" val="220013672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066274"/>
              </p:ext>
            </p:extLst>
          </p:nvPr>
        </p:nvGraphicFramePr>
        <p:xfrm>
          <a:off x="3654913" y="937338"/>
          <a:ext cx="8055759" cy="4970712"/>
        </p:xfrm>
        <a:graphic>
          <a:graphicData uri="http://schemas.openxmlformats.org/drawingml/2006/table">
            <a:tbl>
              <a:tblPr/>
              <a:tblGrid>
                <a:gridCol w="100573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234440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0000498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277402203"/>
                    </a:ext>
                  </a:extLst>
                </a:gridCol>
              </a:tblGrid>
              <a:tr h="55172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lternativ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2758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e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H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0475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o Wi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Oth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04753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al Ti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eas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ven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ur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018931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z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163499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ype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Consumptio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208035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ntane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78988"/>
                  </a:ext>
                </a:extLst>
              </a:tr>
            </a:tbl>
          </a:graphicData>
        </a:graphic>
      </p:graphicFrame>
      <p:sp>
        <p:nvSpPr>
          <p:cNvPr id="16" name="Title 3"/>
          <p:cNvSpPr txBox="1">
            <a:spLocks/>
          </p:cNvSpPr>
          <p:nvPr/>
        </p:nvSpPr>
        <p:spPr>
          <a:xfrm>
            <a:off x="565389" y="1810002"/>
            <a:ext cx="304643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5W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35017A4-1930-4661-B8E1-DD04AD0568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6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2339" y="48336"/>
            <a:ext cx="14398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Lunch &amp; Dinner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2746485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7877100"/>
              </p:ext>
            </p:extLst>
          </p:nvPr>
        </p:nvGraphicFramePr>
        <p:xfrm>
          <a:off x="3654913" y="937338"/>
          <a:ext cx="8055759" cy="4970712"/>
        </p:xfrm>
        <a:graphic>
          <a:graphicData uri="http://schemas.openxmlformats.org/drawingml/2006/table">
            <a:tbl>
              <a:tblPr/>
              <a:tblGrid>
                <a:gridCol w="100573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234440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0000498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277402203"/>
                    </a:ext>
                  </a:extLst>
                </a:gridCol>
              </a:tblGrid>
              <a:tr h="55172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2758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e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H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0475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o Wi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Oth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04753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al Ti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eas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ven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ur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018931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z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163499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ype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Consumptio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208035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ntane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78988"/>
                  </a:ext>
                </a:extLst>
              </a:tr>
            </a:tbl>
          </a:graphicData>
        </a:graphic>
      </p:graphicFrame>
      <p:sp>
        <p:nvSpPr>
          <p:cNvPr id="16" name="Title 3"/>
          <p:cNvSpPr txBox="1">
            <a:spLocks/>
          </p:cNvSpPr>
          <p:nvPr/>
        </p:nvSpPr>
        <p:spPr>
          <a:xfrm>
            <a:off x="565389" y="1810002"/>
            <a:ext cx="304643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5W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35017A4-1930-4661-B8E1-DD04AD0568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7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2339" y="48336"/>
            <a:ext cx="14398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Lunch &amp; Dinner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1985750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7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567619"/>
              </p:ext>
            </p:extLst>
          </p:nvPr>
        </p:nvGraphicFramePr>
        <p:xfrm>
          <a:off x="3408939" y="813000"/>
          <a:ext cx="8301733" cy="5219387"/>
        </p:xfrm>
        <a:graphic>
          <a:graphicData uri="http://schemas.openxmlformats.org/drawingml/2006/table">
            <a:tbl>
              <a:tblPr/>
              <a:tblGrid>
                <a:gridCol w="775730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710419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038021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84051100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19963428"/>
                    </a:ext>
                  </a:extLst>
                </a:gridCol>
              </a:tblGrid>
              <a:tr h="38245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lternativ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82639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e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91982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4-1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46439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13-2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illennial (22-3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X (39-5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omers (55-7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ddle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c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Siz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to 2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11940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to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434683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e than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319747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with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id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0667255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out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390545"/>
                  </a:ext>
                </a:extLst>
              </a:tr>
            </a:tbl>
          </a:graphicData>
        </a:graphic>
      </p:graphicFrame>
      <p:sp>
        <p:nvSpPr>
          <p:cNvPr id="18" name="Title 3"/>
          <p:cNvSpPr txBox="1">
            <a:spLocks/>
          </p:cNvSpPr>
          <p:nvPr/>
        </p:nvSpPr>
        <p:spPr>
          <a:xfrm>
            <a:off x="565388" y="1810002"/>
            <a:ext cx="347626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mographics</a:t>
            </a:r>
          </a:p>
          <a:p>
            <a:pPr lvl="0"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82BCF0CB-CBAD-4F90-86A6-4EECF7D532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8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2339" y="48336"/>
            <a:ext cx="14398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Lunch &amp; Dinner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08065633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7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62600"/>
              </p:ext>
            </p:extLst>
          </p:nvPr>
        </p:nvGraphicFramePr>
        <p:xfrm>
          <a:off x="3408939" y="819306"/>
          <a:ext cx="8301733" cy="5219387"/>
        </p:xfrm>
        <a:graphic>
          <a:graphicData uri="http://schemas.openxmlformats.org/drawingml/2006/table">
            <a:tbl>
              <a:tblPr/>
              <a:tblGrid>
                <a:gridCol w="775730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710419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038021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84051100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19963428"/>
                    </a:ext>
                  </a:extLst>
                </a:gridCol>
              </a:tblGrid>
              <a:tr h="38245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82639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e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91982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4-1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46439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13-2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illennial (22-3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X (39-5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omers (55-7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ddle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c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Siz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to 2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11940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to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434683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e than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319747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with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id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0667255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out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390545"/>
                  </a:ext>
                </a:extLst>
              </a:tr>
            </a:tbl>
          </a:graphicData>
        </a:graphic>
      </p:graphicFrame>
      <p:sp>
        <p:nvSpPr>
          <p:cNvPr id="18" name="Title 3"/>
          <p:cNvSpPr txBox="1">
            <a:spLocks/>
          </p:cNvSpPr>
          <p:nvPr/>
        </p:nvSpPr>
        <p:spPr>
          <a:xfrm>
            <a:off x="565388" y="1810002"/>
            <a:ext cx="347626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mographics</a:t>
            </a:r>
          </a:p>
          <a:p>
            <a:pPr lvl="0"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82BCF0CB-CBAD-4F90-86A6-4EECF7D532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9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2339" y="48336"/>
            <a:ext cx="14398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Lunch &amp; Dinner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015895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ounded Rectangle 72">
            <a:extLst>
              <a:ext uri="{FF2B5EF4-FFF2-40B4-BE49-F238E27FC236}">
                <a16:creationId xmlns:a16="http://schemas.microsoft.com/office/drawing/2014/main" id="{6F055F01-75BC-40E8-914D-5F9FF1A9FCA3}"/>
              </a:ext>
            </a:extLst>
          </p:cNvPr>
          <p:cNvSpPr/>
          <p:nvPr/>
        </p:nvSpPr>
        <p:spPr>
          <a:xfrm>
            <a:off x="0" y="1469558"/>
            <a:ext cx="12192000" cy="1065007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Medium Cond"/>
              <a:ea typeface="+mn-ea"/>
              <a:cs typeface="+mn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831702" y="3052973"/>
          <a:ext cx="10744596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00596">
                  <a:extLst>
                    <a:ext uri="{9D8B030D-6E8A-4147-A177-3AD203B41FA5}">
                      <a16:colId xmlns:a16="http://schemas.microsoft.com/office/drawing/2014/main" val="686758517"/>
                    </a:ext>
                  </a:extLst>
                </a:gridCol>
                <a:gridCol w="5544000">
                  <a:extLst>
                    <a:ext uri="{9D8B030D-6E8A-4147-A177-3AD203B41FA5}">
                      <a16:colId xmlns:a16="http://schemas.microsoft.com/office/drawing/2014/main" val="3324516661"/>
                    </a:ext>
                  </a:extLst>
                </a:gridCol>
              </a:tblGrid>
              <a:tr h="914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Are the occasions</a:t>
                      </a:r>
                      <a:r>
                        <a:rPr lang="en-US" sz="200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 </a:t>
                      </a:r>
                      <a:r>
                        <a:rPr lang="en-US" sz="2000" dirty="0">
                          <a:solidFill>
                            <a:schemeClr val="tx2"/>
                          </a:solidFill>
                          <a:latin typeface="Franklin Gothic Book" panose="020B0503020102020204" pitchFamily="34" charset="0"/>
                        </a:rPr>
                        <a:t>intuitive</a:t>
                      </a:r>
                      <a:r>
                        <a:rPr lang="en-US" sz="2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Franklin Gothic Book" panose="020B0503020102020204" pitchFamily="34" charset="0"/>
                        </a:rPr>
                        <a:t> 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and easily understood by a large global audience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sz="1800" i="1" kern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A simple where/when framework is easily explain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5973349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Are the occasions </a:t>
                      </a:r>
                      <a:r>
                        <a:rPr lang="en-US" sz="2000" dirty="0">
                          <a:solidFill>
                            <a:schemeClr val="tx2"/>
                          </a:solidFill>
                          <a:latin typeface="Franklin Gothic Book" panose="020B0503020102020204" pitchFamily="34" charset="0"/>
                        </a:rPr>
                        <a:t>targetable</a:t>
                      </a:r>
                      <a:r>
                        <a:rPr lang="en-US" sz="2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Franklin Gothic Book" panose="020B0503020102020204" pitchFamily="34" charset="0"/>
                        </a:rPr>
                        <a:t>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sz="1800" i="1" kern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Execution can be placed to target clearly defined occasion typ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04461037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Are the occasions</a:t>
                      </a:r>
                      <a:r>
                        <a:rPr lang="en-US" sz="2000" kern="120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baseline="0" dirty="0">
                          <a:solidFill>
                            <a:schemeClr val="tx2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differentiated</a:t>
                      </a:r>
                      <a:r>
                        <a:rPr lang="en-US" sz="2000" kern="1200" baseline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baseline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on the most meaningful metrics?</a:t>
                      </a:r>
                      <a:endParaRPr lang="en-US" sz="2000" kern="12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sz="1800" i="1" kern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Occasions will be sharply defined on where and/or when, and maintain differentiation on motivations and other metric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72388632"/>
                  </a:ext>
                </a:extLst>
              </a:tr>
            </a:tbl>
          </a:graphicData>
        </a:graphic>
      </p:graphicFrame>
      <p:sp>
        <p:nvSpPr>
          <p:cNvPr id="17" name="Title 1"/>
          <p:cNvSpPr txBox="1">
            <a:spLocks/>
          </p:cNvSpPr>
          <p:nvPr/>
        </p:nvSpPr>
        <p:spPr>
          <a:xfrm>
            <a:off x="1488585" y="1580996"/>
            <a:ext cx="2296203" cy="4801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DC2347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The Goal</a:t>
            </a: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1488584" y="2018540"/>
            <a:ext cx="9273903" cy="4247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+mj-ea"/>
                <a:cs typeface="+mj-cs"/>
              </a:rPr>
              <a:t>To create an eating occasion framework that work for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+mj-ea"/>
                <a:cs typeface="+mj-cs"/>
              </a:rPr>
              <a:t>Kellogg’s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+mj-ea"/>
                <a:cs typeface="+mj-cs"/>
              </a:rPr>
              <a:t> 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688" y="1537865"/>
            <a:ext cx="930618" cy="928392"/>
          </a:xfrm>
          <a:prstGeom prst="rect">
            <a:avLst/>
          </a:prstGeom>
        </p:spPr>
      </p:pic>
      <p:sp>
        <p:nvSpPr>
          <p:cNvPr id="14" name="Title 4">
            <a:extLst>
              <a:ext uri="{FF2B5EF4-FFF2-40B4-BE49-F238E27FC236}">
                <a16:creationId xmlns:a16="http://schemas.microsoft.com/office/drawing/2014/main" id="{869BC911-2291-4055-A2E8-12EC0D64E6BD}"/>
              </a:ext>
            </a:extLst>
          </p:cNvPr>
          <p:cNvSpPr txBox="1">
            <a:spLocks/>
          </p:cNvSpPr>
          <p:nvPr/>
        </p:nvSpPr>
        <p:spPr>
          <a:xfrm>
            <a:off x="121642" y="311588"/>
            <a:ext cx="1207035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0" i="0" u="none" strike="noStrike" kern="1200" cap="none" spc="0" normalizeH="0" baseline="0" noProof="0" dirty="0">
                <a:ln>
                  <a:noFill/>
                </a:ln>
                <a:solidFill>
                  <a:srgbClr val="DB1348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The way the Occasions were determined was informed by how they will be used to act on strategic objectives.</a:t>
            </a: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Medium Cond"/>
              <a:ea typeface="+mj-ea"/>
              <a:cs typeface="+mj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4E6AD69-82DA-479C-AC62-78489EA6B164}"/>
              </a:ext>
            </a:extLst>
          </p:cNvPr>
          <p:cNvGrpSpPr/>
          <p:nvPr/>
        </p:nvGrpSpPr>
        <p:grpSpPr>
          <a:xfrm>
            <a:off x="603818" y="3439118"/>
            <a:ext cx="202276" cy="202276"/>
            <a:chOff x="940110" y="3101832"/>
            <a:chExt cx="295220" cy="295220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29380223-2B01-441F-9F80-0F7A3FD95629}"/>
                </a:ext>
              </a:extLst>
            </p:cNvPr>
            <p:cNvSpPr/>
            <p:nvPr/>
          </p:nvSpPr>
          <p:spPr>
            <a:xfrm>
              <a:off x="940110" y="3101832"/>
              <a:ext cx="295220" cy="29522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0" name="checkmark_BURKEGREEN"/>
            <p:cNvPicPr>
              <a:picLocks noChangeAspect="1"/>
            </p:cNvPicPr>
            <p:nvPr/>
          </p:nvPicPr>
          <p:blipFill rotWithShape="1">
            <a:blip r:embed="rId4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010" t="11880" r="12010" b="11880"/>
            <a:stretch/>
          </p:blipFill>
          <p:spPr>
            <a:xfrm>
              <a:off x="977484" y="3138832"/>
              <a:ext cx="220471" cy="22122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E69BA62-B185-464E-9EBB-1CD1602E30D6}"/>
              </a:ext>
            </a:extLst>
          </p:cNvPr>
          <p:cNvGrpSpPr/>
          <p:nvPr/>
        </p:nvGrpSpPr>
        <p:grpSpPr>
          <a:xfrm>
            <a:off x="603818" y="4323435"/>
            <a:ext cx="202276" cy="202276"/>
            <a:chOff x="940110" y="3101832"/>
            <a:chExt cx="295220" cy="29522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CCFE9449-2F88-4FB3-B978-1DE7062CD63B}"/>
                </a:ext>
              </a:extLst>
            </p:cNvPr>
            <p:cNvSpPr/>
            <p:nvPr/>
          </p:nvSpPr>
          <p:spPr>
            <a:xfrm>
              <a:off x="940110" y="3101832"/>
              <a:ext cx="295220" cy="29522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2" name="checkmark_BURKEGREEN">
              <a:extLst>
                <a:ext uri="{FF2B5EF4-FFF2-40B4-BE49-F238E27FC236}">
                  <a16:creationId xmlns:a16="http://schemas.microsoft.com/office/drawing/2014/main" id="{BAB4A81B-600B-43E6-8022-5AB60A84BF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010" t="11880" r="12010" b="11880"/>
            <a:stretch/>
          </p:blipFill>
          <p:spPr>
            <a:xfrm>
              <a:off x="977484" y="3138832"/>
              <a:ext cx="220471" cy="22122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A2552C6-8A38-4368-A71C-4850A624E007}"/>
              </a:ext>
            </a:extLst>
          </p:cNvPr>
          <p:cNvGrpSpPr/>
          <p:nvPr/>
        </p:nvGrpSpPr>
        <p:grpSpPr>
          <a:xfrm>
            <a:off x="603818" y="5245455"/>
            <a:ext cx="202276" cy="202276"/>
            <a:chOff x="940110" y="3101832"/>
            <a:chExt cx="295220" cy="29522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005DBF4-D24F-4B1D-B3BE-5DCBEE944B9E}"/>
                </a:ext>
              </a:extLst>
            </p:cNvPr>
            <p:cNvSpPr/>
            <p:nvPr/>
          </p:nvSpPr>
          <p:spPr>
            <a:xfrm>
              <a:off x="940110" y="3101832"/>
              <a:ext cx="295220" cy="29522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5" name="checkmark_BURKEGREEN">
              <a:extLst>
                <a:ext uri="{FF2B5EF4-FFF2-40B4-BE49-F238E27FC236}">
                  <a16:creationId xmlns:a16="http://schemas.microsoft.com/office/drawing/2014/main" id="{8AE1ACC2-A4AF-4FAB-99E7-9AD8DBB731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010" t="11880" r="12010" b="11880"/>
            <a:stretch/>
          </p:blipFill>
          <p:spPr>
            <a:xfrm>
              <a:off x="977484" y="3138832"/>
              <a:ext cx="220471" cy="221220"/>
            </a:xfrm>
            <a:prstGeom prst="rect">
              <a:avLst/>
            </a:prstGeom>
          </p:spPr>
        </p:pic>
      </p:grpSp>
      <p:sp>
        <p:nvSpPr>
          <p:cNvPr id="27" name="Slide Number Placeholder 6">
            <a:extLst>
              <a:ext uri="{FF2B5EF4-FFF2-40B4-BE49-F238E27FC236}">
                <a16:creationId xmlns:a16="http://schemas.microsoft.com/office/drawing/2014/main" id="{FC302E80-176D-4EB0-B1D0-FF7BBB3ECB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672" y="6532931"/>
            <a:ext cx="444062" cy="275677"/>
          </a:xfrm>
        </p:spPr>
        <p:txBody>
          <a:bodyPr/>
          <a:lstStyle/>
          <a:p>
            <a:fld id="{A26DCA39-FE7E-4B33-9419-C9BB65BD885E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2549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719" y="365125"/>
            <a:ext cx="11089005" cy="549275"/>
          </a:xfrm>
        </p:spPr>
        <p:txBody>
          <a:bodyPr>
            <a:normAutofit fontScale="90000"/>
          </a:bodyPr>
          <a:lstStyle/>
          <a:p>
            <a:r>
              <a:rPr lang="en-US" dirty="0"/>
              <a:t>By understanding our strategic goals for the framework and applying the eating occasion definition, we developed a data-driven eating occasion framework.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939507" y="1554472"/>
            <a:ext cx="7250400" cy="4079998"/>
          </a:xfrm>
          <a:prstGeom prst="rect">
            <a:avLst/>
          </a:prstGeom>
        </p:spPr>
      </p:pic>
      <p:sp>
        <p:nvSpPr>
          <p:cNvPr id="9" name="Rectangle 20"/>
          <p:cNvSpPr/>
          <p:nvPr/>
        </p:nvSpPr>
        <p:spPr>
          <a:xfrm flipH="1">
            <a:off x="4842343" y="1374232"/>
            <a:ext cx="3927944" cy="444165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">
                <a:schemeClr val="bg1">
                  <a:alpha val="50000"/>
                </a:schemeClr>
              </a:gs>
              <a:gs pos="60000">
                <a:srgbClr val="FFFFFF">
                  <a:alpha val="80000"/>
                </a:srgbClr>
              </a:gs>
              <a:gs pos="30000">
                <a:schemeClr val="bg1">
                  <a:alpha val="6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B6A0072-6442-F24B-B9DE-2E043CBAC82C}"/>
              </a:ext>
            </a:extLst>
          </p:cNvPr>
          <p:cNvSpPr txBox="1">
            <a:spLocks/>
          </p:cNvSpPr>
          <p:nvPr/>
        </p:nvSpPr>
        <p:spPr>
          <a:xfrm>
            <a:off x="155448" y="2122862"/>
            <a:ext cx="5844210" cy="1247308"/>
          </a:xfrm>
          <a:prstGeom prst="rect">
            <a:avLst/>
          </a:prstGeom>
          <a:noFill/>
        </p:spPr>
        <p:txBody>
          <a:bodyPr vert="horz" wrap="square" lIns="457200" tIns="45720" rIns="45720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 pitchFamily="34" charset="0"/>
                <a:ea typeface="+mj-ea"/>
                <a:cs typeface="+mj-cs"/>
              </a:rPr>
              <a:t>Our data comes directly from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 pitchFamily="34" charset="0"/>
                <a:ea typeface="+mj-ea"/>
                <a:cs typeface="+mj-cs"/>
              </a:rPr>
              <a:t>Consumers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Medium" panose="020B06030201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 pitchFamily="34" charset="0"/>
                <a:ea typeface="+mj-ea"/>
                <a:cs typeface="+mj-cs"/>
              </a:rPr>
              <a:t>We captured well ov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731825C-E91E-0F4F-B82C-0D463DFA3B18}"/>
              </a:ext>
            </a:extLst>
          </p:cNvPr>
          <p:cNvSpPr/>
          <p:nvPr/>
        </p:nvSpPr>
        <p:spPr>
          <a:xfrm>
            <a:off x="574413" y="3875130"/>
            <a:ext cx="181331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eating occasions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DA010B-6925-2F44-B8E7-A9EAE679E65C}"/>
              </a:ext>
            </a:extLst>
          </p:cNvPr>
          <p:cNvSpPr/>
          <p:nvPr/>
        </p:nvSpPr>
        <p:spPr>
          <a:xfrm>
            <a:off x="2822303" y="3881811"/>
            <a:ext cx="25523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consumers in     countri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3447197-E16E-2549-A86E-FE4512CD8185}"/>
              </a:ext>
            </a:extLst>
          </p:cNvPr>
          <p:cNvSpPr txBox="1">
            <a:spLocks/>
          </p:cNvSpPr>
          <p:nvPr/>
        </p:nvSpPr>
        <p:spPr>
          <a:xfrm>
            <a:off x="155448" y="4343007"/>
            <a:ext cx="5239911" cy="864754"/>
          </a:xfrm>
          <a:prstGeom prst="rect">
            <a:avLst/>
          </a:prstGeom>
          <a:noFill/>
        </p:spPr>
        <p:txBody>
          <a:bodyPr vert="horz" wrap="square" lIns="457200" tIns="45720" rIns="45720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+mj-ea"/>
                <a:cs typeface="+mj-cs"/>
              </a:rPr>
              <a:t>during the first quarter of 2019. This foundational data was captured via a diary where consumers provided information about all eating and drinking occasions over a 24-hour period.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B6A0072-6442-F24B-B9DE-2E043CBAC82C}"/>
              </a:ext>
            </a:extLst>
          </p:cNvPr>
          <p:cNvSpPr txBox="1">
            <a:spLocks/>
          </p:cNvSpPr>
          <p:nvPr/>
        </p:nvSpPr>
        <p:spPr>
          <a:xfrm>
            <a:off x="2350343" y="3930062"/>
            <a:ext cx="658368" cy="367225"/>
          </a:xfrm>
          <a:prstGeom prst="rect">
            <a:avLst/>
          </a:prstGeom>
          <a:noFill/>
        </p:spPr>
        <p:txBody>
          <a:bodyPr vert="horz" wrap="square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fro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D4066A-1985-4B4B-B6B0-BACB466270A4}"/>
              </a:ext>
            </a:extLst>
          </p:cNvPr>
          <p:cNvSpPr txBox="1"/>
          <p:nvPr/>
        </p:nvSpPr>
        <p:spPr>
          <a:xfrm>
            <a:off x="584087" y="3398598"/>
            <a:ext cx="154241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DC2347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200,0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231C16-BC4A-42E3-81C2-7DC1EC5FFC13}"/>
              </a:ext>
            </a:extLst>
          </p:cNvPr>
          <p:cNvSpPr txBox="1"/>
          <p:nvPr/>
        </p:nvSpPr>
        <p:spPr>
          <a:xfrm>
            <a:off x="2836818" y="3397507"/>
            <a:ext cx="133241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DC2347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40,0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8E35596-2B89-40F8-A23E-CCD5836ED0E5}"/>
              </a:ext>
            </a:extLst>
          </p:cNvPr>
          <p:cNvSpPr txBox="1"/>
          <p:nvPr/>
        </p:nvSpPr>
        <p:spPr>
          <a:xfrm>
            <a:off x="4074071" y="3888784"/>
            <a:ext cx="3593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6</a:t>
            </a: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BBC719-CEE4-40E3-B148-E71435B4C7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8797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0872" y="1494845"/>
            <a:ext cx="5241128" cy="4182474"/>
          </a:xfrm>
          <a:prstGeom prst="rect">
            <a:avLst/>
          </a:prstGeom>
        </p:spPr>
      </p:pic>
      <p:sp>
        <p:nvSpPr>
          <p:cNvPr id="22" name="Rectangle 20"/>
          <p:cNvSpPr/>
          <p:nvPr/>
        </p:nvSpPr>
        <p:spPr>
          <a:xfrm flipH="1">
            <a:off x="6934878" y="1420021"/>
            <a:ext cx="2550316" cy="427055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">
                <a:schemeClr val="bg1">
                  <a:alpha val="50000"/>
                </a:schemeClr>
              </a:gs>
              <a:gs pos="60000">
                <a:srgbClr val="FFFFFF">
                  <a:alpha val="80000"/>
                </a:srgbClr>
              </a:gs>
              <a:gs pos="30000">
                <a:schemeClr val="bg1">
                  <a:alpha val="6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&amp; Method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26721" y="1229051"/>
            <a:ext cx="6129525" cy="12889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+mj-ea"/>
                <a:cs typeface="+mj-cs"/>
              </a:rPr>
              <a:t>Respondents represented in this report completed a 19-minute online interview. The interview included a consumption occasion diary providing information about all eating and drinking occasions over a 24-hour period.</a:t>
            </a:r>
          </a:p>
        </p:txBody>
      </p:sp>
      <p:sp>
        <p:nvSpPr>
          <p:cNvPr id="20" name="Title 3"/>
          <p:cNvSpPr txBox="1">
            <a:spLocks/>
          </p:cNvSpPr>
          <p:nvPr/>
        </p:nvSpPr>
        <p:spPr>
          <a:xfrm>
            <a:off x="426721" y="4964243"/>
            <a:ext cx="6129526" cy="75713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B1348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Census controls were implemented to ensure representivity among the Rep sample. When viewed as a total population, children age 4-12 and adults/teens age 13-70 have been weighted to match population proportions. </a:t>
            </a:r>
          </a:p>
        </p:txBody>
      </p:sp>
      <p:graphicFrame>
        <p:nvGraphicFramePr>
          <p:cNvPr id="9" name="Table 20">
            <a:extLst>
              <a:ext uri="{FF2B5EF4-FFF2-40B4-BE49-F238E27FC236}">
                <a16:creationId xmlns:a16="http://schemas.microsoft.com/office/drawing/2014/main" id="{D8A480CC-2485-4639-B12E-FC14294DA9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6796894"/>
              </p:ext>
            </p:extLst>
          </p:nvPr>
        </p:nvGraphicFramePr>
        <p:xfrm>
          <a:off x="426721" y="2598969"/>
          <a:ext cx="6199920" cy="239456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306294">
                  <a:extLst>
                    <a:ext uri="{9D8B030D-6E8A-4147-A177-3AD203B41FA5}">
                      <a16:colId xmlns:a16="http://schemas.microsoft.com/office/drawing/2014/main" val="373931292"/>
                    </a:ext>
                  </a:extLst>
                </a:gridCol>
                <a:gridCol w="602904">
                  <a:extLst>
                    <a:ext uri="{9D8B030D-6E8A-4147-A177-3AD203B41FA5}">
                      <a16:colId xmlns:a16="http://schemas.microsoft.com/office/drawing/2014/main" val="2380093829"/>
                    </a:ext>
                  </a:extLst>
                </a:gridCol>
                <a:gridCol w="602904">
                  <a:extLst>
                    <a:ext uri="{9D8B030D-6E8A-4147-A177-3AD203B41FA5}">
                      <a16:colId xmlns:a16="http://schemas.microsoft.com/office/drawing/2014/main" val="3772259004"/>
                    </a:ext>
                  </a:extLst>
                </a:gridCol>
                <a:gridCol w="669502">
                  <a:extLst>
                    <a:ext uri="{9D8B030D-6E8A-4147-A177-3AD203B41FA5}">
                      <a16:colId xmlns:a16="http://schemas.microsoft.com/office/drawing/2014/main" val="104026283"/>
                    </a:ext>
                  </a:extLst>
                </a:gridCol>
                <a:gridCol w="602904">
                  <a:extLst>
                    <a:ext uri="{9D8B030D-6E8A-4147-A177-3AD203B41FA5}">
                      <a16:colId xmlns:a16="http://schemas.microsoft.com/office/drawing/2014/main" val="2784734133"/>
                    </a:ext>
                  </a:extLst>
                </a:gridCol>
                <a:gridCol w="606700">
                  <a:extLst>
                    <a:ext uri="{9D8B030D-6E8A-4147-A177-3AD203B41FA5}">
                      <a16:colId xmlns:a16="http://schemas.microsoft.com/office/drawing/2014/main" val="2313105452"/>
                    </a:ext>
                  </a:extLst>
                </a:gridCol>
                <a:gridCol w="602904">
                  <a:extLst>
                    <a:ext uri="{9D8B030D-6E8A-4147-A177-3AD203B41FA5}">
                      <a16:colId xmlns:a16="http://schemas.microsoft.com/office/drawing/2014/main" val="4048641168"/>
                    </a:ext>
                  </a:extLst>
                </a:gridCol>
                <a:gridCol w="602904">
                  <a:extLst>
                    <a:ext uri="{9D8B030D-6E8A-4147-A177-3AD203B41FA5}">
                      <a16:colId xmlns:a16="http://schemas.microsoft.com/office/drawing/2014/main" val="4174468004"/>
                    </a:ext>
                  </a:extLst>
                </a:gridCol>
                <a:gridCol w="602904">
                  <a:extLst>
                    <a:ext uri="{9D8B030D-6E8A-4147-A177-3AD203B41FA5}">
                      <a16:colId xmlns:a16="http://schemas.microsoft.com/office/drawing/2014/main" val="1593955172"/>
                    </a:ext>
                  </a:extLst>
                </a:gridCol>
              </a:tblGrid>
              <a:tr h="40791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SAMPLE SIZES TOTAL AGE 4-7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8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832971"/>
                  </a:ext>
                </a:extLst>
              </a:tr>
              <a:tr h="62546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e Perio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362017"/>
                  </a:ext>
                </a:extLst>
              </a:tr>
              <a:tr h="62546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600" b="0" kern="120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Respond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942613"/>
                  </a:ext>
                </a:extLst>
              </a:tr>
              <a:tr h="62546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600" b="0" kern="120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Occas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6903851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A1CA5D-6029-460D-8396-2E22B3A79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7777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6811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54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4" y="2262886"/>
            <a:ext cx="9851661" cy="1595698"/>
          </a:xfrm>
        </p:spPr>
        <p:txBody>
          <a:bodyPr anchor="ctr">
            <a:normAutofit fontScale="90000"/>
          </a:bodyPr>
          <a:lstStyle/>
          <a:p>
            <a:r>
              <a:rPr lang="en-US" dirty="0"/>
              <a:t>Occasion Sizing, Shifting and Behavioral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6A532C-95F4-4883-A6DB-A36651215F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82641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2832390"/>
              </p:ext>
            </p:extLst>
          </p:nvPr>
        </p:nvGraphicFramePr>
        <p:xfrm>
          <a:off x="5486932" y="365030"/>
          <a:ext cx="6223740" cy="5524500"/>
        </p:xfrm>
        <a:graphic>
          <a:graphicData uri="http://schemas.openxmlformats.org/drawingml/2006/table">
            <a:tbl>
              <a:tblPr/>
              <a:tblGrid>
                <a:gridCol w="144866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596884">
                  <a:extLst>
                    <a:ext uri="{9D8B030D-6E8A-4147-A177-3AD203B41FA5}">
                      <a16:colId xmlns:a16="http://schemas.microsoft.com/office/drawing/2014/main" val="3154098611"/>
                    </a:ext>
                  </a:extLst>
                </a:gridCol>
                <a:gridCol w="596884">
                  <a:extLst>
                    <a:ext uri="{9D8B030D-6E8A-4147-A177-3AD203B41FA5}">
                      <a16:colId xmlns:a16="http://schemas.microsoft.com/office/drawing/2014/main" val="1208831761"/>
                    </a:ext>
                  </a:extLst>
                </a:gridCol>
                <a:gridCol w="596884">
                  <a:extLst>
                    <a:ext uri="{9D8B030D-6E8A-4147-A177-3AD203B41FA5}">
                      <a16:colId xmlns:a16="http://schemas.microsoft.com/office/drawing/2014/main" val="1743055143"/>
                    </a:ext>
                  </a:extLst>
                </a:gridCol>
                <a:gridCol w="596884">
                  <a:extLst>
                    <a:ext uri="{9D8B030D-6E8A-4147-A177-3AD203B41FA5}">
                      <a16:colId xmlns:a16="http://schemas.microsoft.com/office/drawing/2014/main" val="2853988456"/>
                    </a:ext>
                  </a:extLst>
                </a:gridCol>
                <a:gridCol w="596884">
                  <a:extLst>
                    <a:ext uri="{9D8B030D-6E8A-4147-A177-3AD203B41FA5}">
                      <a16:colId xmlns:a16="http://schemas.microsoft.com/office/drawing/2014/main" val="3194063882"/>
                    </a:ext>
                  </a:extLst>
                </a:gridCol>
                <a:gridCol w="596884">
                  <a:extLst>
                    <a:ext uri="{9D8B030D-6E8A-4147-A177-3AD203B41FA5}">
                      <a16:colId xmlns:a16="http://schemas.microsoft.com/office/drawing/2014/main" val="3415021321"/>
                    </a:ext>
                  </a:extLst>
                </a:gridCol>
                <a:gridCol w="596884">
                  <a:extLst>
                    <a:ext uri="{9D8B030D-6E8A-4147-A177-3AD203B41FA5}">
                      <a16:colId xmlns:a16="http://schemas.microsoft.com/office/drawing/2014/main" val="1051451111"/>
                    </a:ext>
                  </a:extLst>
                </a:gridCol>
                <a:gridCol w="596884">
                  <a:extLst>
                    <a:ext uri="{9D8B030D-6E8A-4147-A177-3AD203B41FA5}">
                      <a16:colId xmlns:a16="http://schemas.microsoft.com/office/drawing/2014/main" val="193886765"/>
                    </a:ext>
                  </a:extLst>
                </a:gridCol>
              </a:tblGrid>
              <a:tr h="750265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ccasions % Distrib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67630"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25509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453544"/>
                  </a:ext>
                </a:extLst>
              </a:tr>
              <a:tr h="25509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550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For On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550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4201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at Work/Schoo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550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550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550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 Alternativ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595075"/>
                  </a:ext>
                </a:extLst>
              </a:tr>
              <a:tr h="2550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noon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4201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 Work/School Bi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100962"/>
                  </a:ext>
                </a:extLst>
              </a:tr>
              <a:tr h="25509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641244"/>
                  </a:ext>
                </a:extLst>
              </a:tr>
              <a:tr h="25509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5509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073321"/>
                  </a:ext>
                </a:extLst>
              </a:tr>
              <a:tr h="25509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604377"/>
                  </a:ext>
                </a:extLst>
              </a:tr>
              <a:tr h="42014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dtime/Late Night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25" name="Title 3"/>
          <p:cNvSpPr txBox="1">
            <a:spLocks/>
          </p:cNvSpPr>
          <p:nvPr/>
        </p:nvSpPr>
        <p:spPr>
          <a:xfrm>
            <a:off x="316470" y="1648638"/>
            <a:ext cx="2636928" cy="201219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DB1348"/>
                </a:solidFill>
                <a:effectLst/>
                <a:uLnTx/>
                <a:uFillTx/>
                <a:latin typeface="Franklin Gothic Medium Cond"/>
                <a:ea typeface="+mj-ea"/>
                <a:cs typeface="Arial"/>
              </a:rPr>
              <a:t>Occasion Sizing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graphicFrame>
        <p:nvGraphicFramePr>
          <p:cNvPr id="34" name="Table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9966091"/>
              </p:ext>
            </p:extLst>
          </p:nvPr>
        </p:nvGraphicFramePr>
        <p:xfrm>
          <a:off x="212058" y="5502873"/>
          <a:ext cx="5098841" cy="830580"/>
        </p:xfrm>
        <a:graphic>
          <a:graphicData uri="http://schemas.openxmlformats.org/drawingml/2006/table">
            <a:tbl>
              <a:tblPr/>
              <a:tblGrid>
                <a:gridCol w="1101663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489025">
                  <a:extLst>
                    <a:ext uri="{9D8B030D-6E8A-4147-A177-3AD203B41FA5}">
                      <a16:colId xmlns:a16="http://schemas.microsoft.com/office/drawing/2014/main" val="1578481378"/>
                    </a:ext>
                  </a:extLst>
                </a:gridCol>
                <a:gridCol w="486681">
                  <a:extLst>
                    <a:ext uri="{9D8B030D-6E8A-4147-A177-3AD203B41FA5}">
                      <a16:colId xmlns:a16="http://schemas.microsoft.com/office/drawing/2014/main" val="1693828239"/>
                    </a:ext>
                  </a:extLst>
                </a:gridCol>
                <a:gridCol w="506958">
                  <a:extLst>
                    <a:ext uri="{9D8B030D-6E8A-4147-A177-3AD203B41FA5}">
                      <a16:colId xmlns:a16="http://schemas.microsoft.com/office/drawing/2014/main" val="1013743220"/>
                    </a:ext>
                  </a:extLst>
                </a:gridCol>
                <a:gridCol w="506958">
                  <a:extLst>
                    <a:ext uri="{9D8B030D-6E8A-4147-A177-3AD203B41FA5}">
                      <a16:colId xmlns:a16="http://schemas.microsoft.com/office/drawing/2014/main" val="618190254"/>
                    </a:ext>
                  </a:extLst>
                </a:gridCol>
                <a:gridCol w="506958">
                  <a:extLst>
                    <a:ext uri="{9D8B030D-6E8A-4147-A177-3AD203B41FA5}">
                      <a16:colId xmlns:a16="http://schemas.microsoft.com/office/drawing/2014/main" val="4142808649"/>
                    </a:ext>
                  </a:extLst>
                </a:gridCol>
                <a:gridCol w="506958">
                  <a:extLst>
                    <a:ext uri="{9D8B030D-6E8A-4147-A177-3AD203B41FA5}">
                      <a16:colId xmlns:a16="http://schemas.microsoft.com/office/drawing/2014/main" val="2836961612"/>
                    </a:ext>
                  </a:extLst>
                </a:gridCol>
                <a:gridCol w="496820">
                  <a:extLst>
                    <a:ext uri="{9D8B030D-6E8A-4147-A177-3AD203B41FA5}">
                      <a16:colId xmlns:a16="http://schemas.microsoft.com/office/drawing/2014/main" val="189529994"/>
                    </a:ext>
                  </a:extLst>
                </a:gridCol>
                <a:gridCol w="496820">
                  <a:extLst>
                    <a:ext uri="{9D8B030D-6E8A-4147-A177-3AD203B41FA5}">
                      <a16:colId xmlns:a16="http://schemas.microsoft.com/office/drawing/2014/main" val="2892397460"/>
                    </a:ext>
                  </a:extLst>
                </a:gridCol>
              </a:tblGrid>
              <a:tr h="266635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326492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verage Daily Number </a:t>
                      </a:r>
                      <a:r>
                        <a:rPr lang="en-US" sz="8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of Occasions per Person</a:t>
                      </a:r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453544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040B7C0C-78FA-4170-9DF0-58BE2224F02B}"/>
              </a:ext>
            </a:extLst>
          </p:cNvPr>
          <p:cNvSpPr txBox="1">
            <a:spLocks/>
          </p:cNvSpPr>
          <p:nvPr/>
        </p:nvSpPr>
        <p:spPr>
          <a:xfrm>
            <a:off x="11710672" y="6537580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6417858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9214619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3622528"/>
              </p:ext>
            </p:extLst>
          </p:nvPr>
        </p:nvGraphicFramePr>
        <p:xfrm>
          <a:off x="2752506" y="371765"/>
          <a:ext cx="9180197" cy="8115300"/>
        </p:xfrm>
        <a:graphic>
          <a:graphicData uri="http://schemas.openxmlformats.org/drawingml/2006/table">
            <a:tbl>
              <a:tblPr/>
              <a:tblGrid>
                <a:gridCol w="1066472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1578481378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1693828239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2836961612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298274033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1293358506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2345466381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329224124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4066790495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4258762409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1095442249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3735478434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2710424042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3781761491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244255940"/>
                    </a:ext>
                  </a:extLst>
                </a:gridCol>
                <a:gridCol w="540915">
                  <a:extLst>
                    <a:ext uri="{9D8B030D-6E8A-4147-A177-3AD203B41FA5}">
                      <a16:colId xmlns:a16="http://schemas.microsoft.com/office/drawing/2014/main" val="2983856956"/>
                    </a:ext>
                  </a:extLst>
                </a:gridCol>
              </a:tblGrid>
              <a:tr h="343852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verage Annual Number of Occasions per Pers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ccasions Gained</a:t>
                      </a: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o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579991"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243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453544"/>
                  </a:ext>
                </a:extLst>
              </a:tr>
              <a:tr h="4009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4009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For 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4009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4009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at Work/Sch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4009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434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4009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595075"/>
                  </a:ext>
                </a:extLst>
              </a:tr>
              <a:tr h="4009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noon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40440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 Work/ 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100962"/>
                  </a:ext>
                </a:extLst>
              </a:tr>
              <a:tr h="243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641244"/>
                  </a:ext>
                </a:extLst>
              </a:tr>
              <a:tr h="4009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43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073321"/>
                  </a:ext>
                </a:extLst>
              </a:tr>
              <a:tr h="243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604377"/>
                  </a:ext>
                </a:extLst>
              </a:tr>
              <a:tr h="4009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dtime/Late Night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25" name="Title 3"/>
          <p:cNvSpPr txBox="1">
            <a:spLocks/>
          </p:cNvSpPr>
          <p:nvPr/>
        </p:nvSpPr>
        <p:spPr>
          <a:xfrm>
            <a:off x="316470" y="1648638"/>
            <a:ext cx="2636928" cy="285021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Average Annual Number of Occasions per Person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id="{37EB3CB3-B538-49F1-89E3-A35CBC01A14B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16848608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78819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2974192"/>
              </p:ext>
            </p:extLst>
          </p:nvPr>
        </p:nvGraphicFramePr>
        <p:xfrm>
          <a:off x="4294628" y="1027257"/>
          <a:ext cx="7555993" cy="4937760"/>
        </p:xfrm>
        <a:graphic>
          <a:graphicData uri="http://schemas.openxmlformats.org/drawingml/2006/table">
            <a:tbl>
              <a:tblPr/>
              <a:tblGrid>
                <a:gridCol w="1740409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208831761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4305514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9382823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4258762409"/>
                    </a:ext>
                  </a:extLst>
                </a:gridCol>
              </a:tblGrid>
              <a:tr h="552025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ccasions % Distrib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verage Annual Number of Occasions per Pers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ccasions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ained</a:t>
                      </a: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ost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33550"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CHG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CHG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453544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For On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at Work/Schoo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 Alternativ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595075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noon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 Work/School Bi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100962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641244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073321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604377"/>
                  </a:ext>
                </a:extLst>
              </a:tr>
              <a:tr h="257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dtime/Late Night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8204124"/>
              </p:ext>
            </p:extLst>
          </p:nvPr>
        </p:nvGraphicFramePr>
        <p:xfrm>
          <a:off x="994837" y="5012517"/>
          <a:ext cx="3131469" cy="952500"/>
        </p:xfrm>
        <a:graphic>
          <a:graphicData uri="http://schemas.openxmlformats.org/drawingml/2006/table">
            <a:tbl>
              <a:tblPr/>
              <a:tblGrid>
                <a:gridCol w="78627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108396">
                  <a:extLst>
                    <a:ext uri="{9D8B030D-6E8A-4147-A177-3AD203B41FA5}">
                      <a16:colId xmlns:a16="http://schemas.microsoft.com/office/drawing/2014/main" val="1578481378"/>
                    </a:ext>
                  </a:extLst>
                </a:gridCol>
                <a:gridCol w="1236802">
                  <a:extLst>
                    <a:ext uri="{9D8B030D-6E8A-4147-A177-3AD203B41FA5}">
                      <a16:colId xmlns:a16="http://schemas.microsoft.com/office/drawing/2014/main" val="1693828239"/>
                    </a:ext>
                  </a:extLst>
                </a:gridCol>
              </a:tblGrid>
              <a:tr h="235178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, Q3 2019 (Pre-COVID19), 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235178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verage Daily Number </a:t>
                      </a:r>
                      <a:r>
                        <a:rPr lang="en-US" sz="8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of Occasions per Person</a:t>
                      </a:r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8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453544"/>
                  </a:ext>
                </a:extLst>
              </a:tr>
            </a:tbl>
          </a:graphicData>
        </a:graphic>
      </p:graphicFrame>
      <p:sp>
        <p:nvSpPr>
          <p:cNvPr id="17" name="Title 3"/>
          <p:cNvSpPr txBox="1">
            <a:spLocks/>
          </p:cNvSpPr>
          <p:nvPr/>
        </p:nvSpPr>
        <p:spPr>
          <a:xfrm>
            <a:off x="311389" y="1647442"/>
            <a:ext cx="2636928" cy="201219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DB1348"/>
                </a:solidFill>
                <a:effectLst/>
                <a:uLnTx/>
                <a:uFillTx/>
                <a:latin typeface="Franklin Gothic Medium Cond"/>
                <a:ea typeface="+mj-ea"/>
                <a:cs typeface="Arial"/>
              </a:rPr>
              <a:t>Occasion Sizing</a:t>
            </a:r>
            <a:endParaRPr lang="en-US" sz="2800" dirty="0">
              <a:solidFill>
                <a:srgbClr val="595959"/>
              </a:solidFill>
              <a:cs typeface="Arial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43" name="Slide Number Placeholder 3">
            <a:extLst>
              <a:ext uri="{FF2B5EF4-FFF2-40B4-BE49-F238E27FC236}">
                <a16:creationId xmlns:a16="http://schemas.microsoft.com/office/drawing/2014/main" id="{A68967D2-3599-4D96-A2D4-D7817F92B26F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17698982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0377594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58754"/>
              </p:ext>
            </p:extLst>
          </p:nvPr>
        </p:nvGraphicFramePr>
        <p:xfrm>
          <a:off x="2820259" y="370752"/>
          <a:ext cx="9302915" cy="5785725"/>
        </p:xfrm>
        <a:graphic>
          <a:graphicData uri="http://schemas.openxmlformats.org/drawingml/2006/table">
            <a:tbl>
              <a:tblPr/>
              <a:tblGrid>
                <a:gridCol w="131319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3154098611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1743055143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1251689573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2501576450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4294426362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4117750928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2286068339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825316399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2587561654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109881060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2139513179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4095593074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1451522282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932317072"/>
                    </a:ext>
                  </a:extLst>
                </a:gridCol>
                <a:gridCol w="532648">
                  <a:extLst>
                    <a:ext uri="{9D8B030D-6E8A-4147-A177-3AD203B41FA5}">
                      <a16:colId xmlns:a16="http://schemas.microsoft.com/office/drawing/2014/main" val="577964463"/>
                    </a:ext>
                  </a:extLst>
                </a:gridCol>
              </a:tblGrid>
              <a:tr h="337885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verage # of</a:t>
                      </a: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Items</a:t>
                      </a: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Items Gains</a:t>
                      </a: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o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588019"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27646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453544"/>
                  </a:ext>
                </a:extLst>
              </a:tr>
              <a:tr h="24682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468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For 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468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4065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at Work/Sch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468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468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468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595075"/>
                  </a:ext>
                </a:extLst>
              </a:tr>
              <a:tr h="2468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noon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4065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 Work/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100962"/>
                  </a:ext>
                </a:extLst>
              </a:tr>
              <a:tr h="24682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641244"/>
                  </a:ext>
                </a:extLst>
              </a:tr>
              <a:tr h="24682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4682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073321"/>
                  </a:ext>
                </a:extLst>
              </a:tr>
              <a:tr h="24682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604377"/>
                  </a:ext>
                </a:extLst>
              </a:tr>
              <a:tr h="40653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dtime/ Late Night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2737433" y="623281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246845">
              <a:spcBef>
                <a:spcPts val="400"/>
              </a:spcBef>
              <a:spcAft>
                <a:spcPts val="400"/>
              </a:spcAft>
              <a:buClr>
                <a:srgbClr val="DB1348"/>
              </a:buClr>
              <a:buSzPct val="150000"/>
              <a:defRPr/>
            </a:pPr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te: The increase in items represents a food and/or beverage addition to the occasion.</a:t>
            </a:r>
          </a:p>
        </p:txBody>
      </p:sp>
      <p:sp>
        <p:nvSpPr>
          <p:cNvPr id="17" name="Title 3"/>
          <p:cNvSpPr txBox="1">
            <a:spLocks/>
          </p:cNvSpPr>
          <p:nvPr/>
        </p:nvSpPr>
        <p:spPr>
          <a:xfrm>
            <a:off x="319303" y="1643358"/>
            <a:ext cx="2636928" cy="234139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Average Number of Items Per Occasion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2339" y="48336"/>
            <a:ext cx="2601994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2" name="Slide Number Placeholder 3">
            <a:extLst>
              <a:ext uri="{FF2B5EF4-FFF2-40B4-BE49-F238E27FC236}">
                <a16:creationId xmlns:a16="http://schemas.microsoft.com/office/drawing/2014/main" id="{0D5FFE53-CCB8-4E22-9CE6-618E035FF06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38836283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1117362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191650"/>
              </p:ext>
            </p:extLst>
          </p:nvPr>
        </p:nvGraphicFramePr>
        <p:xfrm>
          <a:off x="3577455" y="912216"/>
          <a:ext cx="4998264" cy="5034372"/>
        </p:xfrm>
        <a:graphic>
          <a:graphicData uri="http://schemas.openxmlformats.org/drawingml/2006/table">
            <a:tbl>
              <a:tblPr/>
              <a:tblGrid>
                <a:gridCol w="2241954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378155">
                  <a:extLst>
                    <a:ext uri="{9D8B030D-6E8A-4147-A177-3AD203B41FA5}">
                      <a16:colId xmlns:a16="http://schemas.microsoft.com/office/drawing/2014/main" val="1743055143"/>
                    </a:ext>
                  </a:extLst>
                </a:gridCol>
                <a:gridCol w="1378155">
                  <a:extLst>
                    <a:ext uri="{9D8B030D-6E8A-4147-A177-3AD203B41FA5}">
                      <a16:colId xmlns:a16="http://schemas.microsoft.com/office/drawing/2014/main" val="2587561654"/>
                    </a:ext>
                  </a:extLst>
                </a:gridCol>
              </a:tblGrid>
              <a:tr h="378007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verage # of</a:t>
                      </a: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Items</a:t>
                      </a: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Items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ains</a:t>
                      </a: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ost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475640"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CHG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45354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For On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at Work/Schoo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915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 Alternativ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59507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noon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 Work/School Bi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10096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64124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07332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60437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dtime/Late Night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4" name="Rectangle 13"/>
          <p:cNvSpPr/>
          <p:nvPr/>
        </p:nvSpPr>
        <p:spPr>
          <a:xfrm>
            <a:off x="3539027" y="5953432"/>
            <a:ext cx="572664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46845">
              <a:spcBef>
                <a:spcPts val="400"/>
              </a:spcBef>
              <a:spcAft>
                <a:spcPts val="400"/>
              </a:spcAft>
              <a:buClr>
                <a:srgbClr val="DB1348"/>
              </a:buClr>
              <a:buSzPct val="150000"/>
              <a:defRPr/>
            </a:pPr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te: The increase in items represents a food and/or beverage addition to the occasion.</a:t>
            </a:r>
          </a:p>
        </p:txBody>
      </p:sp>
      <p:sp>
        <p:nvSpPr>
          <p:cNvPr id="15" name="Title 3"/>
          <p:cNvSpPr txBox="1">
            <a:spLocks/>
          </p:cNvSpPr>
          <p:nvPr/>
        </p:nvSpPr>
        <p:spPr>
          <a:xfrm>
            <a:off x="311389" y="1648460"/>
            <a:ext cx="2636928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Average Number of Items Per Occasion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2" name="Slide Number Placeholder 3">
            <a:extLst>
              <a:ext uri="{FF2B5EF4-FFF2-40B4-BE49-F238E27FC236}">
                <a16:creationId xmlns:a16="http://schemas.microsoft.com/office/drawing/2014/main" id="{A513A3F2-35C8-4E10-B52C-A6A62CCB41DB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25343499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3FA7E7A-0389-4278-BB80-FF1D89858A9B}"/>
              </a:ext>
            </a:extLst>
          </p:cNvPr>
          <p:cNvSpPr/>
          <p:nvPr/>
        </p:nvSpPr>
        <p:spPr>
          <a:xfrm>
            <a:off x="0" y="1199965"/>
            <a:ext cx="12192000" cy="95911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4992331" y="2267049"/>
            <a:ext cx="7199669" cy="4051450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04725" y="1200983"/>
            <a:ext cx="11401793" cy="94605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  <a:ea typeface="+mj-ea"/>
                <a:cs typeface="+mj-cs"/>
              </a:rPr>
              <a:t>Establish an enterprise-wide, standardized continuous tracker of eating occasions within our core markets inclusive of brands, categories, channels and retailers</a:t>
            </a:r>
          </a:p>
        </p:txBody>
      </p:sp>
      <p:sp>
        <p:nvSpPr>
          <p:cNvPr id="9" name="Rectangle 20"/>
          <p:cNvSpPr/>
          <p:nvPr/>
        </p:nvSpPr>
        <p:spPr>
          <a:xfrm flipH="1">
            <a:off x="4992330" y="2259657"/>
            <a:ext cx="3153920" cy="406623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">
                <a:schemeClr val="bg1">
                  <a:alpha val="50000"/>
                </a:schemeClr>
              </a:gs>
              <a:gs pos="60000">
                <a:srgbClr val="FFFFFF">
                  <a:alpha val="80000"/>
                </a:srgbClr>
              </a:gs>
              <a:gs pos="30000">
                <a:schemeClr val="bg1">
                  <a:alpha val="6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269365" y="3323278"/>
            <a:ext cx="4722964" cy="193899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In order to unlock the power of occasions, Landmark captures all </a:t>
            </a: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DB1348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5W’s defining the situational context associated with consumption 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and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 </a:t>
            </a: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DB1348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factors associated with purchase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, allowing us to entice buyers when they are most motivated and receptive to buy.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5BA32DA3-D30D-4EE2-83A8-A4623125514A}"/>
              </a:ext>
            </a:extLst>
          </p:cNvPr>
          <p:cNvSpPr txBox="1">
            <a:spLocks/>
          </p:cNvSpPr>
          <p:nvPr/>
        </p:nvSpPr>
        <p:spPr>
          <a:xfrm>
            <a:off x="121643" y="311588"/>
            <a:ext cx="11338560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DB1348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Project Objectiv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DB1348"/>
              </a:solidFill>
              <a:effectLst/>
              <a:uLnTx/>
              <a:uFillTx/>
              <a:latin typeface="Franklin Gothic Medium Cond"/>
              <a:ea typeface="+mj-ea"/>
              <a:cs typeface="+mj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B0E8564-EBD9-4E4F-8A7C-4CAAB9010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74279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4" name="Title 3"/>
          <p:cNvSpPr txBox="1">
            <a:spLocks/>
          </p:cNvSpPr>
          <p:nvPr/>
        </p:nvSpPr>
        <p:spPr>
          <a:xfrm>
            <a:off x="311069" y="1643359"/>
            <a:ext cx="2636928" cy="201219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Kellogg Share of Occasion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8" name="Slide Number Placeholder 3">
            <a:extLst>
              <a:ext uri="{FF2B5EF4-FFF2-40B4-BE49-F238E27FC236}">
                <a16:creationId xmlns:a16="http://schemas.microsoft.com/office/drawing/2014/main" id="{57ACDF0D-DDDD-42F5-82AE-2B3403824F72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9" name="Table 26">
            <a:extLst>
              <a:ext uri="{FF2B5EF4-FFF2-40B4-BE49-F238E27FC236}">
                <a16:creationId xmlns:a16="http://schemas.microsoft.com/office/drawing/2014/main" id="{E2A57CCB-0F17-49FE-84FF-1B13C54B16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7898275"/>
              </p:ext>
            </p:extLst>
          </p:nvPr>
        </p:nvGraphicFramePr>
        <p:xfrm>
          <a:off x="2820267" y="379199"/>
          <a:ext cx="8890405" cy="6438900"/>
        </p:xfrm>
        <a:graphic>
          <a:graphicData uri="http://schemas.openxmlformats.org/drawingml/2006/table">
            <a:tbl>
              <a:tblPr/>
              <a:tblGrid>
                <a:gridCol w="1254966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3154098611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1743055143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1251689573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2501576450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4294426362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4117750928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2286068339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825316399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2587561654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109881060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2139513179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4095593074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1451522282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932317072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577964463"/>
                    </a:ext>
                  </a:extLst>
                </a:gridCol>
              </a:tblGrid>
              <a:tr h="349671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ellogg Share of Occas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Share Gains</a:t>
                      </a: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o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522436"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219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453544"/>
                  </a:ext>
                </a:extLst>
              </a:tr>
              <a:tr h="219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192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For 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192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3611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at Work/Sch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3611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192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192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595075"/>
                  </a:ext>
                </a:extLst>
              </a:tr>
              <a:tr h="2192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noon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3611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 Work/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100962"/>
                  </a:ext>
                </a:extLst>
              </a:tr>
              <a:tr h="219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641244"/>
                  </a:ext>
                </a:extLst>
              </a:tr>
              <a:tr h="219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19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073321"/>
                  </a:ext>
                </a:extLst>
              </a:tr>
              <a:tr h="219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604377"/>
                  </a:ext>
                </a:extLst>
              </a:tr>
              <a:tr h="36119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dtime/Late Night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4456448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Franklin Gothic Medium Cond" panose="020B0606030402020204" pitchFamily="34" charset="0"/>
              <a:ea typeface="+mj-ea"/>
              <a:cs typeface="Arial" panose="020B0604020202020204" pitchFamily="34" charset="0"/>
              <a:sym typeface="Franklin Gothic Medium Cond" panose="020B0606030402020204" pitchFamily="34" charset="0"/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3842127"/>
              </p:ext>
            </p:extLst>
          </p:nvPr>
        </p:nvGraphicFramePr>
        <p:xfrm>
          <a:off x="621789" y="990642"/>
          <a:ext cx="11088343" cy="1821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2379">
                  <a:extLst>
                    <a:ext uri="{9D8B030D-6E8A-4147-A177-3AD203B41FA5}">
                      <a16:colId xmlns:a16="http://schemas.microsoft.com/office/drawing/2014/main" val="2097610315"/>
                    </a:ext>
                  </a:extLst>
                </a:gridCol>
                <a:gridCol w="723171">
                  <a:extLst>
                    <a:ext uri="{9D8B030D-6E8A-4147-A177-3AD203B41FA5}">
                      <a16:colId xmlns:a16="http://schemas.microsoft.com/office/drawing/2014/main" val="1243804982"/>
                    </a:ext>
                  </a:extLst>
                </a:gridCol>
                <a:gridCol w="757681">
                  <a:extLst>
                    <a:ext uri="{9D8B030D-6E8A-4147-A177-3AD203B41FA5}">
                      <a16:colId xmlns:a16="http://schemas.microsoft.com/office/drawing/2014/main" val="659558133"/>
                    </a:ext>
                  </a:extLst>
                </a:gridCol>
                <a:gridCol w="740426">
                  <a:extLst>
                    <a:ext uri="{9D8B030D-6E8A-4147-A177-3AD203B41FA5}">
                      <a16:colId xmlns:a16="http://schemas.microsoft.com/office/drawing/2014/main" val="28291294"/>
                    </a:ext>
                  </a:extLst>
                </a:gridCol>
                <a:gridCol w="740426">
                  <a:extLst>
                    <a:ext uri="{9D8B030D-6E8A-4147-A177-3AD203B41FA5}">
                      <a16:colId xmlns:a16="http://schemas.microsoft.com/office/drawing/2014/main" val="730167260"/>
                    </a:ext>
                  </a:extLst>
                </a:gridCol>
                <a:gridCol w="740426">
                  <a:extLst>
                    <a:ext uri="{9D8B030D-6E8A-4147-A177-3AD203B41FA5}">
                      <a16:colId xmlns:a16="http://schemas.microsoft.com/office/drawing/2014/main" val="3829958015"/>
                    </a:ext>
                  </a:extLst>
                </a:gridCol>
                <a:gridCol w="740426">
                  <a:extLst>
                    <a:ext uri="{9D8B030D-6E8A-4147-A177-3AD203B41FA5}">
                      <a16:colId xmlns:a16="http://schemas.microsoft.com/office/drawing/2014/main" val="200574711"/>
                    </a:ext>
                  </a:extLst>
                </a:gridCol>
                <a:gridCol w="740426">
                  <a:extLst>
                    <a:ext uri="{9D8B030D-6E8A-4147-A177-3AD203B41FA5}">
                      <a16:colId xmlns:a16="http://schemas.microsoft.com/office/drawing/2014/main" val="3188053917"/>
                    </a:ext>
                  </a:extLst>
                </a:gridCol>
                <a:gridCol w="740426">
                  <a:extLst>
                    <a:ext uri="{9D8B030D-6E8A-4147-A177-3AD203B41FA5}">
                      <a16:colId xmlns:a16="http://schemas.microsoft.com/office/drawing/2014/main" val="633627327"/>
                    </a:ext>
                  </a:extLst>
                </a:gridCol>
                <a:gridCol w="740426">
                  <a:extLst>
                    <a:ext uri="{9D8B030D-6E8A-4147-A177-3AD203B41FA5}">
                      <a16:colId xmlns:a16="http://schemas.microsoft.com/office/drawing/2014/main" val="3511228279"/>
                    </a:ext>
                  </a:extLst>
                </a:gridCol>
                <a:gridCol w="740426">
                  <a:extLst>
                    <a:ext uri="{9D8B030D-6E8A-4147-A177-3AD203B41FA5}">
                      <a16:colId xmlns:a16="http://schemas.microsoft.com/office/drawing/2014/main" val="120934218"/>
                    </a:ext>
                  </a:extLst>
                </a:gridCol>
                <a:gridCol w="740426">
                  <a:extLst>
                    <a:ext uri="{9D8B030D-6E8A-4147-A177-3AD203B41FA5}">
                      <a16:colId xmlns:a16="http://schemas.microsoft.com/office/drawing/2014/main" val="3801562902"/>
                    </a:ext>
                  </a:extLst>
                </a:gridCol>
                <a:gridCol w="740426">
                  <a:extLst>
                    <a:ext uri="{9D8B030D-6E8A-4147-A177-3AD203B41FA5}">
                      <a16:colId xmlns:a16="http://schemas.microsoft.com/office/drawing/2014/main" val="2678039174"/>
                    </a:ext>
                  </a:extLst>
                </a:gridCol>
                <a:gridCol w="740426">
                  <a:extLst>
                    <a:ext uri="{9D8B030D-6E8A-4147-A177-3AD203B41FA5}">
                      <a16:colId xmlns:a16="http://schemas.microsoft.com/office/drawing/2014/main" val="1775351414"/>
                    </a:ext>
                  </a:extLst>
                </a:gridCol>
                <a:gridCol w="740426">
                  <a:extLst>
                    <a:ext uri="{9D8B030D-6E8A-4147-A177-3AD203B41FA5}">
                      <a16:colId xmlns:a16="http://schemas.microsoft.com/office/drawing/2014/main" val="361632820"/>
                    </a:ext>
                  </a:extLst>
                </a:gridCol>
              </a:tblGrid>
              <a:tr h="1435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647767"/>
                  </a:ext>
                </a:extLst>
              </a:tr>
              <a:tr h="27471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1192416"/>
                  </a:ext>
                </a:extLst>
              </a:tr>
              <a:tr h="1435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0541090"/>
                  </a:ext>
                </a:extLst>
              </a:tr>
              <a:tr h="1435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731146"/>
                  </a:ext>
                </a:extLst>
              </a:tr>
              <a:tr h="1435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57924"/>
                  </a:ext>
                </a:extLst>
              </a:tr>
              <a:tr h="1435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194978"/>
                  </a:ext>
                </a:extLst>
              </a:tr>
              <a:tr h="1435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3991993"/>
                  </a:ext>
                </a:extLst>
              </a:tr>
              <a:tr h="1435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6760427"/>
                  </a:ext>
                </a:extLst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426720" y="710197"/>
            <a:ext cx="1869126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ccasion Siz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6720" y="4542714"/>
            <a:ext cx="3965471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logg Share Gains/Lost vs. Previous Quarter</a:t>
            </a:r>
          </a:p>
        </p:txBody>
      </p:sp>
      <p:sp>
        <p:nvSpPr>
          <p:cNvPr id="7" name="Rectangle 6"/>
          <p:cNvSpPr/>
          <p:nvPr/>
        </p:nvSpPr>
        <p:spPr>
          <a:xfrm>
            <a:off x="9921828" y="343627"/>
            <a:ext cx="2201346" cy="553998"/>
          </a:xfrm>
          <a:prstGeom prst="rect">
            <a:avLst/>
          </a:prstGeom>
          <a:ln w="3175"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Franklin Gothic Book" panose="020B0503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logg share of occasions is defined as Kellogg presence within the occasion regardless of category. </a:t>
            </a:r>
            <a:endParaRPr lang="en-US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B210548-BE26-4606-B4AB-41892D0588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0" y="108397"/>
            <a:ext cx="10536700" cy="78427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/>
            </a:pPr>
            <a:r>
              <a:rPr lang="en-US" sz="2800" dirty="0">
                <a:latin typeface="Franklin Gothic Medium Cond"/>
                <a:cs typeface="Arial"/>
              </a:rPr>
              <a:t>Kellogg Share of Occasions Performance</a:t>
            </a:r>
            <a:endParaRPr lang="en-US" sz="1600" dirty="0">
              <a:solidFill>
                <a:srgbClr val="595959"/>
              </a:solidFill>
              <a:ea typeface="+mn-ea"/>
              <a:cs typeface="+mn-cs"/>
            </a:endParaRP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AAB41835-18BF-4223-925C-A77202372B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9046113"/>
              </p:ext>
            </p:extLst>
          </p:nvPr>
        </p:nvGraphicFramePr>
        <p:xfrm>
          <a:off x="467868" y="2860090"/>
          <a:ext cx="11256263" cy="1791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13739053-5C8D-49D6-B79B-C9902D2FD147}"/>
              </a:ext>
            </a:extLst>
          </p:cNvPr>
          <p:cNvSpPr txBox="1"/>
          <p:nvPr/>
        </p:nvSpPr>
        <p:spPr>
          <a:xfrm>
            <a:off x="426720" y="2838974"/>
            <a:ext cx="2406795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logg Share of Occasions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09D3A304-EAE6-444F-AB14-28A78BEB49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7409424"/>
              </p:ext>
            </p:extLst>
          </p:nvPr>
        </p:nvGraphicFramePr>
        <p:xfrm>
          <a:off x="621786" y="4817938"/>
          <a:ext cx="11088349" cy="1546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526">
                  <a:extLst>
                    <a:ext uri="{9D8B030D-6E8A-4147-A177-3AD203B41FA5}">
                      <a16:colId xmlns:a16="http://schemas.microsoft.com/office/drawing/2014/main" val="2097610315"/>
                    </a:ext>
                  </a:extLst>
                </a:gridCol>
                <a:gridCol w="739773">
                  <a:extLst>
                    <a:ext uri="{9D8B030D-6E8A-4147-A177-3AD203B41FA5}">
                      <a16:colId xmlns:a16="http://schemas.microsoft.com/office/drawing/2014/main" val="1243804982"/>
                    </a:ext>
                  </a:extLst>
                </a:gridCol>
                <a:gridCol w="739773">
                  <a:extLst>
                    <a:ext uri="{9D8B030D-6E8A-4147-A177-3AD203B41FA5}">
                      <a16:colId xmlns:a16="http://schemas.microsoft.com/office/drawing/2014/main" val="659558133"/>
                    </a:ext>
                  </a:extLst>
                </a:gridCol>
                <a:gridCol w="739773">
                  <a:extLst>
                    <a:ext uri="{9D8B030D-6E8A-4147-A177-3AD203B41FA5}">
                      <a16:colId xmlns:a16="http://schemas.microsoft.com/office/drawing/2014/main" val="28291294"/>
                    </a:ext>
                  </a:extLst>
                </a:gridCol>
                <a:gridCol w="739773">
                  <a:extLst>
                    <a:ext uri="{9D8B030D-6E8A-4147-A177-3AD203B41FA5}">
                      <a16:colId xmlns:a16="http://schemas.microsoft.com/office/drawing/2014/main" val="730167260"/>
                    </a:ext>
                  </a:extLst>
                </a:gridCol>
                <a:gridCol w="739773">
                  <a:extLst>
                    <a:ext uri="{9D8B030D-6E8A-4147-A177-3AD203B41FA5}">
                      <a16:colId xmlns:a16="http://schemas.microsoft.com/office/drawing/2014/main" val="3829958015"/>
                    </a:ext>
                  </a:extLst>
                </a:gridCol>
                <a:gridCol w="739773">
                  <a:extLst>
                    <a:ext uri="{9D8B030D-6E8A-4147-A177-3AD203B41FA5}">
                      <a16:colId xmlns:a16="http://schemas.microsoft.com/office/drawing/2014/main" val="200574711"/>
                    </a:ext>
                  </a:extLst>
                </a:gridCol>
                <a:gridCol w="739773">
                  <a:extLst>
                    <a:ext uri="{9D8B030D-6E8A-4147-A177-3AD203B41FA5}">
                      <a16:colId xmlns:a16="http://schemas.microsoft.com/office/drawing/2014/main" val="3188053917"/>
                    </a:ext>
                  </a:extLst>
                </a:gridCol>
                <a:gridCol w="739773">
                  <a:extLst>
                    <a:ext uri="{9D8B030D-6E8A-4147-A177-3AD203B41FA5}">
                      <a16:colId xmlns:a16="http://schemas.microsoft.com/office/drawing/2014/main" val="633627327"/>
                    </a:ext>
                  </a:extLst>
                </a:gridCol>
                <a:gridCol w="739773">
                  <a:extLst>
                    <a:ext uri="{9D8B030D-6E8A-4147-A177-3AD203B41FA5}">
                      <a16:colId xmlns:a16="http://schemas.microsoft.com/office/drawing/2014/main" val="3511228279"/>
                    </a:ext>
                  </a:extLst>
                </a:gridCol>
                <a:gridCol w="739773">
                  <a:extLst>
                    <a:ext uri="{9D8B030D-6E8A-4147-A177-3AD203B41FA5}">
                      <a16:colId xmlns:a16="http://schemas.microsoft.com/office/drawing/2014/main" val="120934218"/>
                    </a:ext>
                  </a:extLst>
                </a:gridCol>
                <a:gridCol w="739773">
                  <a:extLst>
                    <a:ext uri="{9D8B030D-6E8A-4147-A177-3AD203B41FA5}">
                      <a16:colId xmlns:a16="http://schemas.microsoft.com/office/drawing/2014/main" val="3801562902"/>
                    </a:ext>
                  </a:extLst>
                </a:gridCol>
                <a:gridCol w="739773">
                  <a:extLst>
                    <a:ext uri="{9D8B030D-6E8A-4147-A177-3AD203B41FA5}">
                      <a16:colId xmlns:a16="http://schemas.microsoft.com/office/drawing/2014/main" val="2678039174"/>
                    </a:ext>
                  </a:extLst>
                </a:gridCol>
                <a:gridCol w="739773">
                  <a:extLst>
                    <a:ext uri="{9D8B030D-6E8A-4147-A177-3AD203B41FA5}">
                      <a16:colId xmlns:a16="http://schemas.microsoft.com/office/drawing/2014/main" val="1775351414"/>
                    </a:ext>
                  </a:extLst>
                </a:gridCol>
                <a:gridCol w="739774">
                  <a:extLst>
                    <a:ext uri="{9D8B030D-6E8A-4147-A177-3AD203B41FA5}">
                      <a16:colId xmlns:a16="http://schemas.microsoft.com/office/drawing/2014/main" val="361632820"/>
                    </a:ext>
                  </a:extLst>
                </a:gridCol>
              </a:tblGrid>
              <a:tr h="17805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647767"/>
                  </a:ext>
                </a:extLst>
              </a:tr>
              <a:tr h="17805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1192416"/>
                  </a:ext>
                </a:extLst>
              </a:tr>
              <a:tr h="17805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0541090"/>
                  </a:ext>
                </a:extLst>
              </a:tr>
              <a:tr h="17805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731146"/>
                  </a:ext>
                </a:extLst>
              </a:tr>
              <a:tr h="17805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57924"/>
                  </a:ext>
                </a:extLst>
              </a:tr>
              <a:tr h="17805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3991993"/>
                  </a:ext>
                </a:extLst>
              </a:tr>
              <a:tr h="17805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6760427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CB5A43-720E-4188-B5C4-47E34C1748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672" y="6546183"/>
            <a:ext cx="444062" cy="275677"/>
          </a:xfrm>
        </p:spPr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09545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3802101"/>
              </p:ext>
            </p:extLst>
          </p:nvPr>
        </p:nvGraphicFramePr>
        <p:xfrm>
          <a:off x="3539027" y="964032"/>
          <a:ext cx="4867326" cy="5040856"/>
        </p:xfrm>
        <a:graphic>
          <a:graphicData uri="http://schemas.openxmlformats.org/drawingml/2006/table">
            <a:tbl>
              <a:tblPr/>
              <a:tblGrid>
                <a:gridCol w="1959534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4305514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587561654"/>
                    </a:ext>
                  </a:extLst>
                </a:gridCol>
              </a:tblGrid>
              <a:tr h="42143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ellogg Share of</a:t>
                      </a: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ccasions</a:t>
                      </a: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hare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ains</a:t>
                      </a: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ost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484784"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CHG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25586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453544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For On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at Work/Schoo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 Alternativ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595075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noon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 Work/School Bi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100962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641244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073321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604377"/>
                  </a:ext>
                </a:extLst>
              </a:tr>
              <a:tr h="27644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dtime/Late Night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23" name="Title 3"/>
          <p:cNvSpPr txBox="1">
            <a:spLocks/>
          </p:cNvSpPr>
          <p:nvPr/>
        </p:nvSpPr>
        <p:spPr>
          <a:xfrm>
            <a:off x="311384" y="1644485"/>
            <a:ext cx="2636928" cy="201219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Kellogg Share of Occasion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2339" y="48336"/>
            <a:ext cx="2601994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 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8279EA24-238B-4F7B-85DE-F13A02F0E9D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10637619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69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Franklin Gothic Medium Cond" panose="020B0606030402020204" pitchFamily="34" charset="0"/>
              <a:ea typeface="+mj-ea"/>
              <a:cs typeface="Arial" panose="020B0604020202020204" pitchFamily="34" charset="0"/>
              <a:sym typeface="Franklin Gothic Medium Cond" panose="020B06060304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432" y="479856"/>
            <a:ext cx="10536700" cy="475243"/>
          </a:xfrm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800" dirty="0">
                <a:latin typeface="Franklin Gothic Medium Cond"/>
                <a:cs typeface="Arial"/>
              </a:rPr>
              <a:t>Kellogg Share of Occasions Performance</a:t>
            </a:r>
            <a:endParaRPr lang="en-US" sz="1600" dirty="0">
              <a:solidFill>
                <a:srgbClr val="595959"/>
              </a:solidFill>
              <a:ea typeface="+mn-ea"/>
              <a:cs typeface="Arial"/>
            </a:endParaRPr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1801567011"/>
              </p:ext>
            </p:extLst>
          </p:nvPr>
        </p:nvGraphicFramePr>
        <p:xfrm>
          <a:off x="649224" y="2340636"/>
          <a:ext cx="11256263" cy="3047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795527" y="2370554"/>
            <a:ext cx="240679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logg Share of Occasions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2192264"/>
              </p:ext>
            </p:extLst>
          </p:nvPr>
        </p:nvGraphicFramePr>
        <p:xfrm>
          <a:off x="128017" y="1368204"/>
          <a:ext cx="11667755" cy="5577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7319">
                  <a:extLst>
                    <a:ext uri="{9D8B030D-6E8A-4147-A177-3AD203B41FA5}">
                      <a16:colId xmlns:a16="http://schemas.microsoft.com/office/drawing/2014/main" val="2097610315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1243804982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659558133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28291294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730167260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3829958015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200574711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3188053917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633627327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3511228279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120934218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3801562902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2678039174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1775351414"/>
                    </a:ext>
                  </a:extLst>
                </a:gridCol>
                <a:gridCol w="732174">
                  <a:extLst>
                    <a:ext uri="{9D8B030D-6E8A-4147-A177-3AD203B41FA5}">
                      <a16:colId xmlns:a16="http://schemas.microsoft.com/office/drawing/2014/main" val="361632820"/>
                    </a:ext>
                  </a:extLst>
                </a:gridCol>
              </a:tblGrid>
              <a:tr h="55774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7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1192416"/>
                  </a:ext>
                </a:extLst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795527" y="1064156"/>
            <a:ext cx="1869126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ccasion Siz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95521" y="5404764"/>
            <a:ext cx="2406795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logg Share Gains</a:t>
            </a: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4280310"/>
              </p:ext>
            </p:extLst>
          </p:nvPr>
        </p:nvGraphicFramePr>
        <p:xfrm>
          <a:off x="128018" y="5719547"/>
          <a:ext cx="11667742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9222">
                  <a:extLst>
                    <a:ext uri="{9D8B030D-6E8A-4147-A177-3AD203B41FA5}">
                      <a16:colId xmlns:a16="http://schemas.microsoft.com/office/drawing/2014/main" val="2097610315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8950631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1243804982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659558133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28291294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730167260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3829958015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200574711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3188053917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633627327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3511228279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120934218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3801562902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2678039174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1775351414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val="361632820"/>
                    </a:ext>
                  </a:extLst>
                </a:gridCol>
              </a:tblGrid>
              <a:tr h="24222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5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4.5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.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9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-0.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.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.8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.7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.8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4.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.5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0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.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.2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.8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647767"/>
                  </a:ext>
                </a:extLst>
              </a:tr>
            </a:tbl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5" name="Slide Number Placeholder 3">
            <a:extLst>
              <a:ext uri="{FF2B5EF4-FFF2-40B4-BE49-F238E27FC236}">
                <a16:creationId xmlns:a16="http://schemas.microsoft.com/office/drawing/2014/main" id="{6DB3E431-C70A-4822-BB4F-DBD37AA4EB52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39" name="Rectangle 38"/>
          <p:cNvSpPr/>
          <p:nvPr/>
        </p:nvSpPr>
        <p:spPr>
          <a:xfrm>
            <a:off x="9921828" y="343627"/>
            <a:ext cx="2201346" cy="553998"/>
          </a:xfrm>
          <a:prstGeom prst="rect">
            <a:avLst/>
          </a:prstGeom>
          <a:ln w="3175"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Franklin Gothic Book" panose="020B0503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llogg share of occasions is defined as Kellogg presence within the occasion regardless of category. 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8614901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2807817"/>
              </p:ext>
            </p:extLst>
          </p:nvPr>
        </p:nvGraphicFramePr>
        <p:xfrm>
          <a:off x="3232769" y="355104"/>
          <a:ext cx="8890405" cy="6271260"/>
        </p:xfrm>
        <a:graphic>
          <a:graphicData uri="http://schemas.openxmlformats.org/drawingml/2006/table">
            <a:tbl>
              <a:tblPr/>
              <a:tblGrid>
                <a:gridCol w="1254966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3154098611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1743055143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1251689573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2501576450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4294426362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4117750928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2286068339"/>
                    </a:ext>
                  </a:extLst>
                </a:gridCol>
                <a:gridCol w="464275">
                  <a:extLst>
                    <a:ext uri="{9D8B030D-6E8A-4147-A177-3AD203B41FA5}">
                      <a16:colId xmlns:a16="http://schemas.microsoft.com/office/drawing/2014/main" val="825316399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2587561654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109881060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2139513179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4095593074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1451522282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932317072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577964463"/>
                    </a:ext>
                  </a:extLst>
                </a:gridCol>
              </a:tblGrid>
              <a:tr h="334009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@ Home Consum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ains</a:t>
                      </a: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o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538181"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22590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453544"/>
                  </a:ext>
                </a:extLst>
              </a:tr>
              <a:tr h="22590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2590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For 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2590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3720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at Work/Sch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3720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2590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2590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595075"/>
                  </a:ext>
                </a:extLst>
              </a:tr>
              <a:tr h="22590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noon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3720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 Work/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100962"/>
                  </a:ext>
                </a:extLst>
              </a:tr>
              <a:tr h="22590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641244"/>
                  </a:ext>
                </a:extLst>
              </a:tr>
              <a:tr h="22590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2590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073321"/>
                  </a:ext>
                </a:extLst>
              </a:tr>
              <a:tr h="22590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604377"/>
                  </a:ext>
                </a:extLst>
              </a:tr>
              <a:tr h="3720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dtime/Late Night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7" name="Title 3"/>
          <p:cNvSpPr txBox="1">
            <a:spLocks/>
          </p:cNvSpPr>
          <p:nvPr/>
        </p:nvSpPr>
        <p:spPr>
          <a:xfrm>
            <a:off x="314960" y="1643358"/>
            <a:ext cx="2968666" cy="184761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@ Home 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2339" y="48336"/>
            <a:ext cx="2601994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2" name="Slide Number Placeholder 3">
            <a:extLst>
              <a:ext uri="{FF2B5EF4-FFF2-40B4-BE49-F238E27FC236}">
                <a16:creationId xmlns:a16="http://schemas.microsoft.com/office/drawing/2014/main" id="{0D5FFE53-CCB8-4E22-9CE6-618E035FF06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4628881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7623341"/>
              </p:ext>
            </p:extLst>
          </p:nvPr>
        </p:nvGraphicFramePr>
        <p:xfrm>
          <a:off x="3539027" y="992480"/>
          <a:ext cx="4684446" cy="5034372"/>
        </p:xfrm>
        <a:graphic>
          <a:graphicData uri="http://schemas.openxmlformats.org/drawingml/2006/table">
            <a:tbl>
              <a:tblPr/>
              <a:tblGrid>
                <a:gridCol w="1776654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4305514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587561654"/>
                    </a:ext>
                  </a:extLst>
                </a:gridCol>
              </a:tblGrid>
              <a:tr h="378007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@ Home Consum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Gains</a:t>
                      </a: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ost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475640"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45354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For On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at Work/Schoo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915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 Alternativ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59507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noon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 Work/School Bi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10096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64124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07332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60437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dtime/Late Night Sna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5" name="Title 3"/>
          <p:cNvSpPr txBox="1">
            <a:spLocks/>
          </p:cNvSpPr>
          <p:nvPr/>
        </p:nvSpPr>
        <p:spPr>
          <a:xfrm>
            <a:off x="311389" y="1648460"/>
            <a:ext cx="2973638" cy="201219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@ Home</a:t>
            </a:r>
          </a:p>
          <a:p>
            <a:pPr lvl="0">
              <a:defRPr/>
            </a:pPr>
            <a:r>
              <a:rPr lang="en-US" sz="4000" dirty="0">
                <a:cs typeface="Arial"/>
              </a:rPr>
              <a:t>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2" name="Slide Number Placeholder 3">
            <a:extLst>
              <a:ext uri="{FF2B5EF4-FFF2-40B4-BE49-F238E27FC236}">
                <a16:creationId xmlns:a16="http://schemas.microsoft.com/office/drawing/2014/main" id="{A513A3F2-35C8-4E10-B52C-A6A62CCB41DB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165018454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8621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0D0ED5A8-E99E-49E8-8677-F8B580AD3A4C}"/>
              </a:ext>
            </a:extLst>
          </p:cNvPr>
          <p:cNvSpPr txBox="1"/>
          <p:nvPr/>
        </p:nvSpPr>
        <p:spPr>
          <a:xfrm>
            <a:off x="32339" y="48336"/>
            <a:ext cx="2601994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 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F6CF685B-2773-488A-B7B2-A5941532091C}"/>
              </a:ext>
            </a:extLst>
          </p:cNvPr>
          <p:cNvSpPr txBox="1">
            <a:spLocks/>
          </p:cNvSpPr>
          <p:nvPr/>
        </p:nvSpPr>
        <p:spPr>
          <a:xfrm>
            <a:off x="316750" y="1648438"/>
            <a:ext cx="2484208" cy="2057929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>
                <a:cs typeface="Arial"/>
              </a:rPr>
              <a:t>Daypart &amp; Consumption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graphicFrame>
        <p:nvGraphicFramePr>
          <p:cNvPr id="28" name="Table 26">
            <a:extLst>
              <a:ext uri="{FF2B5EF4-FFF2-40B4-BE49-F238E27FC236}">
                <a16:creationId xmlns:a16="http://schemas.microsoft.com/office/drawing/2014/main" id="{39A9112A-C279-419F-BF3D-FEA26CAB0F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91424"/>
              </p:ext>
            </p:extLst>
          </p:nvPr>
        </p:nvGraphicFramePr>
        <p:xfrm>
          <a:off x="2902558" y="1399591"/>
          <a:ext cx="8890410" cy="4259580"/>
        </p:xfrm>
        <a:graphic>
          <a:graphicData uri="http://schemas.openxmlformats.org/drawingml/2006/table">
            <a:tbl>
              <a:tblPr/>
              <a:tblGrid>
                <a:gridCol w="77643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524092">
                  <a:extLst>
                    <a:ext uri="{9D8B030D-6E8A-4147-A177-3AD203B41FA5}">
                      <a16:colId xmlns:a16="http://schemas.microsoft.com/office/drawing/2014/main" val="3154098611"/>
                    </a:ext>
                  </a:extLst>
                </a:gridCol>
                <a:gridCol w="524092">
                  <a:extLst>
                    <a:ext uri="{9D8B030D-6E8A-4147-A177-3AD203B41FA5}">
                      <a16:colId xmlns:a16="http://schemas.microsoft.com/office/drawing/2014/main" val="1743055143"/>
                    </a:ext>
                  </a:extLst>
                </a:gridCol>
                <a:gridCol w="524092">
                  <a:extLst>
                    <a:ext uri="{9D8B030D-6E8A-4147-A177-3AD203B41FA5}">
                      <a16:colId xmlns:a16="http://schemas.microsoft.com/office/drawing/2014/main" val="1251689573"/>
                    </a:ext>
                  </a:extLst>
                </a:gridCol>
                <a:gridCol w="524092">
                  <a:extLst>
                    <a:ext uri="{9D8B030D-6E8A-4147-A177-3AD203B41FA5}">
                      <a16:colId xmlns:a16="http://schemas.microsoft.com/office/drawing/2014/main" val="2501576450"/>
                    </a:ext>
                  </a:extLst>
                </a:gridCol>
                <a:gridCol w="524092">
                  <a:extLst>
                    <a:ext uri="{9D8B030D-6E8A-4147-A177-3AD203B41FA5}">
                      <a16:colId xmlns:a16="http://schemas.microsoft.com/office/drawing/2014/main" val="4294426362"/>
                    </a:ext>
                  </a:extLst>
                </a:gridCol>
                <a:gridCol w="524092">
                  <a:extLst>
                    <a:ext uri="{9D8B030D-6E8A-4147-A177-3AD203B41FA5}">
                      <a16:colId xmlns:a16="http://schemas.microsoft.com/office/drawing/2014/main" val="4117750928"/>
                    </a:ext>
                  </a:extLst>
                </a:gridCol>
                <a:gridCol w="524092">
                  <a:extLst>
                    <a:ext uri="{9D8B030D-6E8A-4147-A177-3AD203B41FA5}">
                      <a16:colId xmlns:a16="http://schemas.microsoft.com/office/drawing/2014/main" val="2286068339"/>
                    </a:ext>
                  </a:extLst>
                </a:gridCol>
                <a:gridCol w="524092">
                  <a:extLst>
                    <a:ext uri="{9D8B030D-6E8A-4147-A177-3AD203B41FA5}">
                      <a16:colId xmlns:a16="http://schemas.microsoft.com/office/drawing/2014/main" val="825316399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2587561654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109881060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2139513179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4095593074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1451522282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932317072"/>
                    </a:ext>
                  </a:extLst>
                </a:gridCol>
                <a:gridCol w="560177">
                  <a:extLst>
                    <a:ext uri="{9D8B030D-6E8A-4147-A177-3AD203B41FA5}">
                      <a16:colId xmlns:a16="http://schemas.microsoft.com/office/drawing/2014/main" val="577964463"/>
                    </a:ext>
                  </a:extLst>
                </a:gridCol>
              </a:tblGrid>
              <a:tr h="283435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aypart &amp; Consumption 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ains</a:t>
                      </a: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o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Pre-COVID19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. Prev. Quar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or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45354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182603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eal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nac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A80D6-8CAD-4C0B-B751-2EB6B60D2A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672" y="6546183"/>
            <a:ext cx="444062" cy="275677"/>
          </a:xfrm>
        </p:spPr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6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5662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8621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5791177"/>
              </p:ext>
            </p:extLst>
          </p:nvPr>
        </p:nvGraphicFramePr>
        <p:xfrm>
          <a:off x="4034866" y="1099720"/>
          <a:ext cx="4972919" cy="3977549"/>
        </p:xfrm>
        <a:graphic>
          <a:graphicData uri="http://schemas.openxmlformats.org/drawingml/2006/table">
            <a:tbl>
              <a:tblPr/>
              <a:tblGrid>
                <a:gridCol w="2065127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82531639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587561654"/>
                    </a:ext>
                  </a:extLst>
                </a:gridCol>
              </a:tblGrid>
              <a:tr h="50800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aypart &amp; Consumption</a:t>
                      </a:r>
                      <a:r>
                        <a:rPr lang="en-US" sz="12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ype</a:t>
                      </a:r>
                      <a:endParaRPr lang="en-US" sz="12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ains</a:t>
                      </a:r>
                      <a:r>
                        <a:rPr lang="en-US" sz="12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2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ost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484599"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54517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orning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453544"/>
                  </a:ext>
                </a:extLst>
              </a:tr>
              <a:tr h="5451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5451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190838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5451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eal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54517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nack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32239C4B-61B2-4FBF-BC5A-ECD6C3A26DDE}"/>
              </a:ext>
            </a:extLst>
          </p:cNvPr>
          <p:cNvSpPr txBox="1"/>
          <p:nvPr/>
        </p:nvSpPr>
        <p:spPr>
          <a:xfrm>
            <a:off x="32339" y="48336"/>
            <a:ext cx="2601994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 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47E45F01-68B4-4A99-839A-B90DCD9A3C4B}"/>
              </a:ext>
            </a:extLst>
          </p:cNvPr>
          <p:cNvSpPr txBox="1">
            <a:spLocks/>
          </p:cNvSpPr>
          <p:nvPr/>
        </p:nvSpPr>
        <p:spPr>
          <a:xfrm>
            <a:off x="314960" y="1647442"/>
            <a:ext cx="2973638" cy="201219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Daypart &amp; Consumption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7" name="Slide Number Placeholder 3">
            <a:extLst>
              <a:ext uri="{FF2B5EF4-FFF2-40B4-BE49-F238E27FC236}">
                <a16:creationId xmlns:a16="http://schemas.microsoft.com/office/drawing/2014/main" id="{809379FB-0A8F-43A4-B98D-D4A51E342864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BFFCAB-908A-4F86-9332-5EB1B35DDF67}"/>
              </a:ext>
            </a:extLst>
          </p:cNvPr>
          <p:cNvSpPr/>
          <p:nvPr/>
        </p:nvSpPr>
        <p:spPr>
          <a:xfrm>
            <a:off x="9076974" y="2190295"/>
            <a:ext cx="3011394" cy="40011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  <a:prstDash val="sysDash"/>
          </a:ln>
        </p:spPr>
        <p:txBody>
          <a:bodyPr wrap="square">
            <a:no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arly Morning Bite, Breakfast For One, Family Breakfast, Breakfast Work/School, Mid Morning Snack</a:t>
            </a:r>
            <a:endParaRPr lang="en-US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396439-FBF4-4902-BD27-A6AAC0B4AE55}"/>
              </a:ext>
            </a:extLst>
          </p:cNvPr>
          <p:cNvSpPr/>
          <p:nvPr/>
        </p:nvSpPr>
        <p:spPr>
          <a:xfrm>
            <a:off x="9076974" y="2723459"/>
            <a:ext cx="3011394" cy="40011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  <a:prstDash val="sysDash"/>
          </a:ln>
        </p:spPr>
        <p:txBody>
          <a:bodyPr wrap="square">
            <a:no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unch, Lunch Alternative, Afternoon Snack, After Work/School Bite</a:t>
            </a:r>
            <a:endParaRPr lang="en-US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ADF4746-833A-4A70-B33B-D7B32ABDFF89}"/>
              </a:ext>
            </a:extLst>
          </p:cNvPr>
          <p:cNvSpPr/>
          <p:nvPr/>
        </p:nvSpPr>
        <p:spPr>
          <a:xfrm>
            <a:off x="9076974" y="3256624"/>
            <a:ext cx="3011394" cy="40011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  <a:prstDash val="sysDash"/>
          </a:ln>
        </p:spPr>
        <p:txBody>
          <a:bodyPr wrap="square">
            <a:no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nner, Dinner Alternative, Evening Me, Evening We, Bedtime/Late Night Snack</a:t>
            </a:r>
            <a:endParaRPr lang="en-US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57869F-19A3-4DDB-8652-5699A9AFC308}"/>
              </a:ext>
            </a:extLst>
          </p:cNvPr>
          <p:cNvSpPr/>
          <p:nvPr/>
        </p:nvSpPr>
        <p:spPr>
          <a:xfrm>
            <a:off x="9076974" y="4016044"/>
            <a:ext cx="3011394" cy="476123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  <a:prstDash val="sysDash"/>
          </a:ln>
        </p:spPr>
        <p:txBody>
          <a:bodyPr wrap="square" anchor="ctr">
            <a:no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reakfast For One, Family Breakfast, Breakfast Work/School, Lunch, Lunch Alternative, Dinner, Dinner Alternative</a:t>
            </a:r>
            <a:endParaRPr lang="en-US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E7005D7-08C5-426D-8E92-5C6D160F10EC}"/>
              </a:ext>
            </a:extLst>
          </p:cNvPr>
          <p:cNvSpPr/>
          <p:nvPr/>
        </p:nvSpPr>
        <p:spPr>
          <a:xfrm>
            <a:off x="9076974" y="4593091"/>
            <a:ext cx="3011394" cy="476123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  <a:prstDash val="sysDash"/>
          </a:ln>
        </p:spPr>
        <p:txBody>
          <a:bodyPr wrap="square" anchor="ctr">
            <a:no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arly Morning Bite, Mid Morning Snack, Afternoon Snack, After Work/School Bit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vening Me, Evening We, Bedtime/Late Night Snack</a:t>
            </a:r>
            <a:endParaRPr lang="en-US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0318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4704534"/>
              </p:ext>
            </p:extLst>
          </p:nvPr>
        </p:nvGraphicFramePr>
        <p:xfrm>
          <a:off x="3048001" y="379199"/>
          <a:ext cx="8577279" cy="5710605"/>
        </p:xfrm>
        <a:graphic>
          <a:graphicData uri="http://schemas.openxmlformats.org/drawingml/2006/table">
            <a:tbl>
              <a:tblPr/>
              <a:tblGrid>
                <a:gridCol w="212169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806948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806948">
                  <a:extLst>
                    <a:ext uri="{9D8B030D-6E8A-4147-A177-3AD203B41FA5}">
                      <a16:colId xmlns:a16="http://schemas.microsoft.com/office/drawing/2014/main" val="2086274395"/>
                    </a:ext>
                  </a:extLst>
                </a:gridCol>
                <a:gridCol w="806948">
                  <a:extLst>
                    <a:ext uri="{9D8B030D-6E8A-4147-A177-3AD203B41FA5}">
                      <a16:colId xmlns:a16="http://schemas.microsoft.com/office/drawing/2014/main" val="1350049419"/>
                    </a:ext>
                  </a:extLst>
                </a:gridCol>
                <a:gridCol w="806948">
                  <a:extLst>
                    <a:ext uri="{9D8B030D-6E8A-4147-A177-3AD203B41FA5}">
                      <a16:colId xmlns:a16="http://schemas.microsoft.com/office/drawing/2014/main" val="1014099052"/>
                    </a:ext>
                  </a:extLst>
                </a:gridCol>
                <a:gridCol w="806948">
                  <a:extLst>
                    <a:ext uri="{9D8B030D-6E8A-4147-A177-3AD203B41FA5}">
                      <a16:colId xmlns:a16="http://schemas.microsoft.com/office/drawing/2014/main" val="870184549"/>
                    </a:ext>
                  </a:extLst>
                </a:gridCol>
                <a:gridCol w="806948">
                  <a:extLst>
                    <a:ext uri="{9D8B030D-6E8A-4147-A177-3AD203B41FA5}">
                      <a16:colId xmlns:a16="http://schemas.microsoft.com/office/drawing/2014/main" val="1877940307"/>
                    </a:ext>
                  </a:extLst>
                </a:gridCol>
                <a:gridCol w="806948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806948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</a:tblGrid>
              <a:tr h="399763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repared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ozen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6169842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er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8565351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d/ Bakery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316040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ogurt/ Chee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uits and Veggie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alty/ Savo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eat Snac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s/See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rack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okie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ars/Bi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s/ Can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essert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 Bake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ackaged Frozen Entre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ain Meal Foo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ritional Drinks/ Smooth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7951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vera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6" name="Title 3"/>
          <p:cNvSpPr txBox="1">
            <a:spLocks/>
          </p:cNvSpPr>
          <p:nvPr/>
        </p:nvSpPr>
        <p:spPr>
          <a:xfrm>
            <a:off x="314960" y="1647662"/>
            <a:ext cx="3256803" cy="201219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Category 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03D174C-6584-4A64-A14D-B70106313E02}"/>
              </a:ext>
            </a:extLst>
          </p:cNvPr>
          <p:cNvSpPr txBox="1"/>
          <p:nvPr/>
        </p:nvSpPr>
        <p:spPr>
          <a:xfrm>
            <a:off x="32339" y="48336"/>
            <a:ext cx="2601994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 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B84029F1-8D95-4AB5-AAF9-9A6BC6C07E6B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17873249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5137461"/>
              </p:ext>
            </p:extLst>
          </p:nvPr>
        </p:nvGraphicFramePr>
        <p:xfrm>
          <a:off x="3569507" y="431034"/>
          <a:ext cx="5840892" cy="5726040"/>
        </p:xfrm>
        <a:graphic>
          <a:graphicData uri="http://schemas.openxmlformats.org/drawingml/2006/table">
            <a:tbl>
              <a:tblPr/>
              <a:tblGrid>
                <a:gridCol w="302975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05567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05567">
                  <a:extLst>
                    <a:ext uri="{9D8B030D-6E8A-4147-A177-3AD203B41FA5}">
                      <a16:colId xmlns:a16="http://schemas.microsoft.com/office/drawing/2014/main" val="2086274395"/>
                    </a:ext>
                  </a:extLst>
                </a:gridCol>
              </a:tblGrid>
              <a:tr h="507576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repared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ozen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6169842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er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565351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d/ Bake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316040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ogurt/ Chee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uits and Vegg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alty/ Savo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eat Snac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s/See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rack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ok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ars/Bi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s/ Can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essert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 Bak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ackaged Frozen Entre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ain Meal Foo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ritional Drinks/ Smooth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7465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vera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6" name="Title 3"/>
          <p:cNvSpPr txBox="1">
            <a:spLocks/>
          </p:cNvSpPr>
          <p:nvPr/>
        </p:nvSpPr>
        <p:spPr>
          <a:xfrm>
            <a:off x="312704" y="1648460"/>
            <a:ext cx="3256803" cy="201219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Category 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03D174C-6584-4A64-A14D-B70106313E02}"/>
              </a:ext>
            </a:extLst>
          </p:cNvPr>
          <p:cNvSpPr txBox="1"/>
          <p:nvPr/>
        </p:nvSpPr>
        <p:spPr>
          <a:xfrm>
            <a:off x="32339" y="48336"/>
            <a:ext cx="2601994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 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B84029F1-8D95-4AB5-AAF9-9A6BC6C07E6B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24209286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661" y="121420"/>
            <a:ext cx="11583312" cy="1515954"/>
          </a:xfrm>
        </p:spPr>
        <p:txBody>
          <a:bodyPr>
            <a:normAutofit/>
          </a:bodyPr>
          <a:lstStyle/>
          <a:p>
            <a:pPr lvl="0" defTabSz="701368">
              <a:defRPr/>
            </a:pPr>
            <a:r>
              <a:rPr lang="en-US" dirty="0"/>
              <a:t>Occasions allow us to move beyond category-first think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661" y="1288748"/>
            <a:ext cx="8990237" cy="104768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0139" tIns="35069" rIns="70139" bIns="350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13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Occasions challenge us to think about how to better meet the needs within the occasions compared to our category competitors and against competing categories.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0" y="2568490"/>
            <a:ext cx="7903403" cy="360168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/>
              <a:ea typeface="+mj-ea"/>
              <a:cs typeface="+mj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67661" y="2988002"/>
            <a:ext cx="8253257" cy="2762660"/>
          </a:xfrm>
          <a:prstGeom prst="rect">
            <a:avLst/>
          </a:prstGeom>
        </p:spPr>
        <p:txBody>
          <a:bodyPr wrap="square" lIns="145143" tIns="72571" rIns="145143" bIns="72571">
            <a:spAutoFit/>
          </a:bodyPr>
          <a:lstStyle/>
          <a:p>
            <a:pPr marL="338289" marR="0" lvl="1" indent="-338289" algn="l" defTabSz="10885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Intuitive and globally understood</a:t>
            </a:r>
          </a:p>
          <a:p>
            <a:pPr marL="338289" marR="0" lvl="1" indent="-338289" algn="l" defTabSz="10885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Provide clarity on what people eat and why</a:t>
            </a:r>
          </a:p>
          <a:p>
            <a:pPr marL="338289" marR="0" lvl="1" indent="-338289" algn="l" defTabSz="10885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Sharpen our perspective on consumer behavior and trends</a:t>
            </a:r>
          </a:p>
          <a:p>
            <a:pPr marL="338289" marR="0" lvl="1" indent="-338289" algn="l" defTabSz="10885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Identify white-space and category-adjacent growth opportunities </a:t>
            </a:r>
          </a:p>
          <a:p>
            <a:pPr marL="338289" marR="0" lvl="1" indent="-338289" algn="l" defTabSz="10885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Understand truly “ownable” occasions where Kellogg’s can differentiate</a:t>
            </a:r>
          </a:p>
          <a:p>
            <a:pPr marL="338289" marR="0" lvl="1" indent="-338289" algn="l" defTabSz="10885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Focus our innovation and commercialization efforts</a:t>
            </a:r>
          </a:p>
          <a:p>
            <a:pPr marL="338289" marR="0" lvl="1" indent="-338289" algn="l" defTabSz="10885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Focus our M&amp;A activiti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177" b="9931"/>
          <a:stretch/>
        </p:blipFill>
        <p:spPr>
          <a:xfrm>
            <a:off x="7903403" y="2568490"/>
            <a:ext cx="4274801" cy="36016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43F40E-A6AE-4DB4-B66E-63742C9997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66293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9075512"/>
              </p:ext>
            </p:extLst>
          </p:nvPr>
        </p:nvGraphicFramePr>
        <p:xfrm>
          <a:off x="3539027" y="1685480"/>
          <a:ext cx="6774091" cy="1938150"/>
        </p:xfrm>
        <a:graphic>
          <a:graphicData uri="http://schemas.openxmlformats.org/drawingml/2006/table">
            <a:tbl>
              <a:tblPr/>
              <a:tblGrid>
                <a:gridCol w="1437819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667034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667034">
                  <a:extLst>
                    <a:ext uri="{9D8B030D-6E8A-4147-A177-3AD203B41FA5}">
                      <a16:colId xmlns:a16="http://schemas.microsoft.com/office/drawing/2014/main" val="2086274395"/>
                    </a:ext>
                  </a:extLst>
                </a:gridCol>
                <a:gridCol w="667034">
                  <a:extLst>
                    <a:ext uri="{9D8B030D-6E8A-4147-A177-3AD203B41FA5}">
                      <a16:colId xmlns:a16="http://schemas.microsoft.com/office/drawing/2014/main" val="1350049419"/>
                    </a:ext>
                  </a:extLst>
                </a:gridCol>
                <a:gridCol w="667034">
                  <a:extLst>
                    <a:ext uri="{9D8B030D-6E8A-4147-A177-3AD203B41FA5}">
                      <a16:colId xmlns:a16="http://schemas.microsoft.com/office/drawing/2014/main" val="1014099052"/>
                    </a:ext>
                  </a:extLst>
                </a:gridCol>
                <a:gridCol w="667034">
                  <a:extLst>
                    <a:ext uri="{9D8B030D-6E8A-4147-A177-3AD203B41FA5}">
                      <a16:colId xmlns:a16="http://schemas.microsoft.com/office/drawing/2014/main" val="870184549"/>
                    </a:ext>
                  </a:extLst>
                </a:gridCol>
                <a:gridCol w="667034">
                  <a:extLst>
                    <a:ext uri="{9D8B030D-6E8A-4147-A177-3AD203B41FA5}">
                      <a16:colId xmlns:a16="http://schemas.microsoft.com/office/drawing/2014/main" val="1877940307"/>
                    </a:ext>
                  </a:extLst>
                </a:gridCol>
                <a:gridCol w="667034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667034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</a:tblGrid>
              <a:tr h="294544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31295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1295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 Benef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6169842"/>
                  </a:ext>
                </a:extLst>
              </a:tr>
              <a:tr h="31295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8565351"/>
                  </a:ext>
                </a:extLst>
              </a:tr>
              <a:tr h="31295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316040"/>
                  </a:ext>
                </a:extLst>
              </a:tr>
              <a:tr h="31295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B03D174C-6584-4A64-A14D-B70106313E02}"/>
              </a:ext>
            </a:extLst>
          </p:cNvPr>
          <p:cNvSpPr txBox="1"/>
          <p:nvPr/>
        </p:nvSpPr>
        <p:spPr>
          <a:xfrm>
            <a:off x="32339" y="48336"/>
            <a:ext cx="2601994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 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B84029F1-8D95-4AB5-AAF9-9A6BC6C07E6B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4FBAE059-C1B1-4ACD-900E-532C4B986DD0}"/>
              </a:ext>
            </a:extLst>
          </p:cNvPr>
          <p:cNvSpPr txBox="1">
            <a:spLocks/>
          </p:cNvSpPr>
          <p:nvPr/>
        </p:nvSpPr>
        <p:spPr>
          <a:xfrm>
            <a:off x="314960" y="1648460"/>
            <a:ext cx="3256803" cy="201219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10850334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03D174C-6584-4A64-A14D-B70106313E02}"/>
              </a:ext>
            </a:extLst>
          </p:cNvPr>
          <p:cNvSpPr txBox="1"/>
          <p:nvPr/>
        </p:nvSpPr>
        <p:spPr>
          <a:xfrm>
            <a:off x="32339" y="48336"/>
            <a:ext cx="2601994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 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B84029F1-8D95-4AB5-AAF9-9A6BC6C07E6B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4FBAE059-C1B1-4ACD-900E-532C4B986DD0}"/>
              </a:ext>
            </a:extLst>
          </p:cNvPr>
          <p:cNvSpPr txBox="1">
            <a:spLocks/>
          </p:cNvSpPr>
          <p:nvPr/>
        </p:nvSpPr>
        <p:spPr>
          <a:xfrm>
            <a:off x="310780" y="1642236"/>
            <a:ext cx="3256803" cy="201219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graphicFrame>
        <p:nvGraphicFramePr>
          <p:cNvPr id="32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5598013"/>
              </p:ext>
            </p:extLst>
          </p:nvPr>
        </p:nvGraphicFramePr>
        <p:xfrm>
          <a:off x="3539027" y="1576386"/>
          <a:ext cx="5467345" cy="2021970"/>
        </p:xfrm>
        <a:graphic>
          <a:graphicData uri="http://schemas.openxmlformats.org/drawingml/2006/table">
            <a:tbl>
              <a:tblPr/>
              <a:tblGrid>
                <a:gridCol w="2559553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086274395"/>
                    </a:ext>
                  </a:extLst>
                </a:gridCol>
              </a:tblGrid>
              <a:tr h="294544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31295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1295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 Benef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6169842"/>
                  </a:ext>
                </a:extLst>
              </a:tr>
              <a:tr h="31295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565351"/>
                  </a:ext>
                </a:extLst>
              </a:tr>
              <a:tr h="31295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316040"/>
                  </a:ext>
                </a:extLst>
              </a:tr>
              <a:tr h="31295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07494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1798341"/>
              </p:ext>
            </p:extLst>
          </p:nvPr>
        </p:nvGraphicFramePr>
        <p:xfrm>
          <a:off x="3572588" y="553615"/>
          <a:ext cx="7758897" cy="5738158"/>
        </p:xfrm>
        <a:graphic>
          <a:graphicData uri="http://schemas.openxmlformats.org/drawingml/2006/table">
            <a:tbl>
              <a:tblPr/>
              <a:tblGrid>
                <a:gridCol w="2672497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635800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635800">
                  <a:extLst>
                    <a:ext uri="{9D8B030D-6E8A-4147-A177-3AD203B41FA5}">
                      <a16:colId xmlns:a16="http://schemas.microsoft.com/office/drawing/2014/main" val="2086274395"/>
                    </a:ext>
                  </a:extLst>
                </a:gridCol>
                <a:gridCol w="635800">
                  <a:extLst>
                    <a:ext uri="{9D8B030D-6E8A-4147-A177-3AD203B41FA5}">
                      <a16:colId xmlns:a16="http://schemas.microsoft.com/office/drawing/2014/main" val="1350049419"/>
                    </a:ext>
                  </a:extLst>
                </a:gridCol>
                <a:gridCol w="635800">
                  <a:extLst>
                    <a:ext uri="{9D8B030D-6E8A-4147-A177-3AD203B41FA5}">
                      <a16:colId xmlns:a16="http://schemas.microsoft.com/office/drawing/2014/main" val="1014099052"/>
                    </a:ext>
                  </a:extLst>
                </a:gridCol>
                <a:gridCol w="635800">
                  <a:extLst>
                    <a:ext uri="{9D8B030D-6E8A-4147-A177-3AD203B41FA5}">
                      <a16:colId xmlns:a16="http://schemas.microsoft.com/office/drawing/2014/main" val="870184549"/>
                    </a:ext>
                  </a:extLst>
                </a:gridCol>
                <a:gridCol w="635800">
                  <a:extLst>
                    <a:ext uri="{9D8B030D-6E8A-4147-A177-3AD203B41FA5}">
                      <a16:colId xmlns:a16="http://schemas.microsoft.com/office/drawing/2014/main" val="1877940307"/>
                    </a:ext>
                  </a:extLst>
                </a:gridCol>
                <a:gridCol w="635800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635800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</a:tblGrid>
              <a:tr h="356691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33705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a strong, intense 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9508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simple and 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6169842"/>
                  </a:ext>
                </a:extLst>
              </a:tr>
              <a:tr h="25281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prote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8565351"/>
                  </a:ext>
                </a:extLst>
              </a:tr>
              <a:tr h="31606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fi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316040"/>
                  </a:ext>
                </a:extLst>
              </a:tr>
              <a:tr h="30669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no artificial flavors/colors/ preservativ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5281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low in salt/so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33705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from natural ingr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33705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with whole gra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34621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visible 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386657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no artificial sweete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34794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low/no sug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5870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fresh/freshly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33705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higher quality / 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32585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t is not intru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35809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es not make a m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33705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sy to eat with one h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  <p:sp>
        <p:nvSpPr>
          <p:cNvPr id="16" name="Title 3"/>
          <p:cNvSpPr txBox="1">
            <a:spLocks/>
          </p:cNvSpPr>
          <p:nvPr/>
        </p:nvSpPr>
        <p:spPr>
          <a:xfrm>
            <a:off x="315785" y="1648460"/>
            <a:ext cx="325680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Detailed 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03D174C-6584-4A64-A14D-B70106313E02}"/>
              </a:ext>
            </a:extLst>
          </p:cNvPr>
          <p:cNvSpPr txBox="1"/>
          <p:nvPr/>
        </p:nvSpPr>
        <p:spPr>
          <a:xfrm>
            <a:off x="32339" y="48336"/>
            <a:ext cx="2601994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 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B84029F1-8D95-4AB5-AAF9-9A6BC6C07E6B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148962664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sp>
        <p:nvSpPr>
          <p:cNvPr id="16" name="Title 3"/>
          <p:cNvSpPr txBox="1">
            <a:spLocks/>
          </p:cNvSpPr>
          <p:nvPr/>
        </p:nvSpPr>
        <p:spPr>
          <a:xfrm>
            <a:off x="315785" y="1648460"/>
            <a:ext cx="325680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Detailed 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03D174C-6584-4A64-A14D-B70106313E02}"/>
              </a:ext>
            </a:extLst>
          </p:cNvPr>
          <p:cNvSpPr txBox="1"/>
          <p:nvPr/>
        </p:nvSpPr>
        <p:spPr>
          <a:xfrm>
            <a:off x="32339" y="48336"/>
            <a:ext cx="2601994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 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B84029F1-8D95-4AB5-AAF9-9A6BC6C07E6B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graphicFrame>
        <p:nvGraphicFramePr>
          <p:cNvPr id="14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7628392"/>
              </p:ext>
            </p:extLst>
          </p:nvPr>
        </p:nvGraphicFramePr>
        <p:xfrm>
          <a:off x="3572588" y="578023"/>
          <a:ext cx="5708606" cy="5701954"/>
        </p:xfrm>
        <a:graphic>
          <a:graphicData uri="http://schemas.openxmlformats.org/drawingml/2006/table">
            <a:tbl>
              <a:tblPr/>
              <a:tblGrid>
                <a:gridCol w="2800814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086274395"/>
                    </a:ext>
                  </a:extLst>
                </a:gridCol>
              </a:tblGrid>
              <a:tr h="356691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33705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a strong, intense 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9508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simple and 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6169842"/>
                  </a:ext>
                </a:extLst>
              </a:tr>
              <a:tr h="25281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prote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565351"/>
                  </a:ext>
                </a:extLst>
              </a:tr>
              <a:tr h="31606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fi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316040"/>
                  </a:ext>
                </a:extLst>
              </a:tr>
              <a:tr h="30669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no artificial flavors/colors/preservativ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5281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low in salt/so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33705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from natural ingr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33705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with whole gra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34621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visible 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386657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no artificial sweete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34794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low/no sug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5870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fresh/freshly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33705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higher quality / 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32585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t is not intru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35809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es not make a m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33705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sy to eat with one h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913211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4995823"/>
              </p:ext>
            </p:extLst>
          </p:nvPr>
        </p:nvGraphicFramePr>
        <p:xfrm>
          <a:off x="3439701" y="758620"/>
          <a:ext cx="7509754" cy="4810608"/>
        </p:xfrm>
        <a:graphic>
          <a:graphicData uri="http://schemas.openxmlformats.org/drawingml/2006/table">
            <a:tbl>
              <a:tblPr/>
              <a:tblGrid>
                <a:gridCol w="2288554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652650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652650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652650">
                  <a:extLst>
                    <a:ext uri="{9D8B030D-6E8A-4147-A177-3AD203B41FA5}">
                      <a16:colId xmlns:a16="http://schemas.microsoft.com/office/drawing/2014/main" val="3382471856"/>
                    </a:ext>
                  </a:extLst>
                </a:gridCol>
                <a:gridCol w="652650">
                  <a:extLst>
                    <a:ext uri="{9D8B030D-6E8A-4147-A177-3AD203B41FA5}">
                      <a16:colId xmlns:a16="http://schemas.microsoft.com/office/drawing/2014/main" val="2463961274"/>
                    </a:ext>
                  </a:extLst>
                </a:gridCol>
                <a:gridCol w="652650">
                  <a:extLst>
                    <a:ext uri="{9D8B030D-6E8A-4147-A177-3AD203B41FA5}">
                      <a16:colId xmlns:a16="http://schemas.microsoft.com/office/drawing/2014/main" val="3907368712"/>
                    </a:ext>
                  </a:extLst>
                </a:gridCol>
                <a:gridCol w="652650">
                  <a:extLst>
                    <a:ext uri="{9D8B030D-6E8A-4147-A177-3AD203B41FA5}">
                      <a16:colId xmlns:a16="http://schemas.microsoft.com/office/drawing/2014/main" val="1890592750"/>
                    </a:ext>
                  </a:extLst>
                </a:gridCol>
                <a:gridCol w="652650">
                  <a:extLst>
                    <a:ext uri="{9D8B030D-6E8A-4147-A177-3AD203B41FA5}">
                      <a16:colId xmlns:a16="http://schemas.microsoft.com/office/drawing/2014/main" val="4112059059"/>
                    </a:ext>
                  </a:extLst>
                </a:gridCol>
                <a:gridCol w="652650">
                  <a:extLst>
                    <a:ext uri="{9D8B030D-6E8A-4147-A177-3AD203B41FA5}">
                      <a16:colId xmlns:a16="http://schemas.microsoft.com/office/drawing/2014/main" val="1793561301"/>
                    </a:ext>
                  </a:extLst>
                </a:gridCol>
              </a:tblGrid>
              <a:tr h="23417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8876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y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8876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utine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8876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b &amp; G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8876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amily Enjoy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8876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Buy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8876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8876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nned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8876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at/Reward for Me or my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8876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ecific 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48806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52643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52643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 from a multi-pack/bag/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52643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larger/sharing/multi-serve pack/bag/box/t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312705" y="1649126"/>
            <a:ext cx="2256259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Shopper Mission &amp; Packaging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439701" y="5853159"/>
            <a:ext cx="77182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ackaging asked of packaged categories only, excludes categories such as fruits/veggies, sweet baked goods, main meal foods, etc.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81D63FD2-9D73-4997-9EEC-C68B2CC4BF12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  <p:sp>
        <p:nvSpPr>
          <p:cNvPr id="3" name="NA">
            <a:extLst>
              <a:ext uri="{FF2B5EF4-FFF2-40B4-BE49-F238E27FC236}">
                <a16:creationId xmlns:a16="http://schemas.microsoft.com/office/drawing/2014/main" id="{8934B76B-0AA2-4A5F-8BA0-1798C0036CE2}"/>
              </a:ext>
            </a:extLst>
          </p:cNvPr>
          <p:cNvSpPr txBox="1"/>
          <p:nvPr/>
        </p:nvSpPr>
        <p:spPr>
          <a:xfrm>
            <a:off x="4851384" y="2027583"/>
            <a:ext cx="39756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                  Not Applicable</a:t>
            </a:r>
          </a:p>
        </p:txBody>
      </p:sp>
    </p:spTree>
    <p:extLst>
      <p:ext uri="{BB962C8B-B14F-4D97-AF65-F5344CB8AC3E}">
        <p14:creationId xmlns:p14="http://schemas.microsoft.com/office/powerpoint/2010/main" val="16389699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sp>
        <p:nvSpPr>
          <p:cNvPr id="19" name="Title 3"/>
          <p:cNvSpPr txBox="1">
            <a:spLocks/>
          </p:cNvSpPr>
          <p:nvPr/>
        </p:nvSpPr>
        <p:spPr>
          <a:xfrm>
            <a:off x="312705" y="1649126"/>
            <a:ext cx="2256259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Shopper Mission &amp; Packaging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339676" y="5771264"/>
            <a:ext cx="77182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ackaging asked of packaged categories only, excludes categories such as fruits/veggies, sweet baked goods, main meal foods, etc.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81D63FD2-9D73-4997-9EEC-C68B2CC4BF12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graphicFrame>
        <p:nvGraphicFramePr>
          <p:cNvPr id="15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6864359"/>
              </p:ext>
            </p:extLst>
          </p:nvPr>
        </p:nvGraphicFramePr>
        <p:xfrm>
          <a:off x="3339676" y="840515"/>
          <a:ext cx="6364746" cy="4677273"/>
        </p:xfrm>
        <a:graphic>
          <a:graphicData uri="http://schemas.openxmlformats.org/drawingml/2006/table">
            <a:tbl>
              <a:tblPr/>
              <a:tblGrid>
                <a:gridCol w="3456954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</a:tblGrid>
              <a:tr h="433437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375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y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375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utine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375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b &amp; G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375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amily Enjoy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7375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Buy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375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375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nned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375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at/Reward for Me or my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375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ecific 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45615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49907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49907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 from a multi-pack/bag/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49907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larger/sharing/multi-serve pack/bag/box/t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  <p:sp>
        <p:nvSpPr>
          <p:cNvPr id="14" name="NA">
            <a:extLst>
              <a:ext uri="{FF2B5EF4-FFF2-40B4-BE49-F238E27FC236}">
                <a16:creationId xmlns:a16="http://schemas.microsoft.com/office/drawing/2014/main" id="{A101AF55-AE6D-46B2-83F6-CBDEE4A2AF46}"/>
              </a:ext>
            </a:extLst>
          </p:cNvPr>
          <p:cNvSpPr txBox="1"/>
          <p:nvPr/>
        </p:nvSpPr>
        <p:spPr>
          <a:xfrm>
            <a:off x="4284283" y="2054088"/>
            <a:ext cx="39756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                  Not Applicable</a:t>
            </a:r>
          </a:p>
        </p:txBody>
      </p:sp>
    </p:spTree>
    <p:extLst>
      <p:ext uri="{BB962C8B-B14F-4D97-AF65-F5344CB8AC3E}">
        <p14:creationId xmlns:p14="http://schemas.microsoft.com/office/powerpoint/2010/main" val="24015848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2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7856490"/>
              </p:ext>
            </p:extLst>
          </p:nvPr>
        </p:nvGraphicFramePr>
        <p:xfrm>
          <a:off x="3539027" y="726251"/>
          <a:ext cx="7256059" cy="4827427"/>
        </p:xfrm>
        <a:graphic>
          <a:graphicData uri="http://schemas.openxmlformats.org/drawingml/2006/table">
            <a:tbl>
              <a:tblPr/>
              <a:tblGrid>
                <a:gridCol w="86542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995110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674441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674441">
                  <a:extLst>
                    <a:ext uri="{9D8B030D-6E8A-4147-A177-3AD203B41FA5}">
                      <a16:colId xmlns:a16="http://schemas.microsoft.com/office/drawing/2014/main" val="3529189011"/>
                    </a:ext>
                  </a:extLst>
                </a:gridCol>
                <a:gridCol w="674441">
                  <a:extLst>
                    <a:ext uri="{9D8B030D-6E8A-4147-A177-3AD203B41FA5}">
                      <a16:colId xmlns:a16="http://schemas.microsoft.com/office/drawing/2014/main" val="1687607643"/>
                    </a:ext>
                  </a:extLst>
                </a:gridCol>
                <a:gridCol w="674441">
                  <a:extLst>
                    <a:ext uri="{9D8B030D-6E8A-4147-A177-3AD203B41FA5}">
                      <a16:colId xmlns:a16="http://schemas.microsoft.com/office/drawing/2014/main" val="484070287"/>
                    </a:ext>
                  </a:extLst>
                </a:gridCol>
                <a:gridCol w="674441">
                  <a:extLst>
                    <a:ext uri="{9D8B030D-6E8A-4147-A177-3AD203B41FA5}">
                      <a16:colId xmlns:a16="http://schemas.microsoft.com/office/drawing/2014/main" val="1553212327"/>
                    </a:ext>
                  </a:extLst>
                </a:gridCol>
                <a:gridCol w="674441">
                  <a:extLst>
                    <a:ext uri="{9D8B030D-6E8A-4147-A177-3AD203B41FA5}">
                      <a16:colId xmlns:a16="http://schemas.microsoft.com/office/drawing/2014/main" val="1749596258"/>
                    </a:ext>
                  </a:extLst>
                </a:gridCol>
                <a:gridCol w="674441">
                  <a:extLst>
                    <a:ext uri="{9D8B030D-6E8A-4147-A177-3AD203B41FA5}">
                      <a16:colId xmlns:a16="http://schemas.microsoft.com/office/drawing/2014/main" val="187686056"/>
                    </a:ext>
                  </a:extLst>
                </a:gridCol>
                <a:gridCol w="674441">
                  <a:extLst>
                    <a:ext uri="{9D8B030D-6E8A-4147-A177-3AD203B41FA5}">
                      <a16:colId xmlns:a16="http://schemas.microsoft.com/office/drawing/2014/main" val="840511002"/>
                    </a:ext>
                  </a:extLst>
                </a:gridCol>
              </a:tblGrid>
              <a:tr h="331656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42619"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e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H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42619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o Wi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Oth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42619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al Ti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eas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ven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ur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018931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z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163499"/>
                  </a:ext>
                </a:extLst>
              </a:tr>
              <a:tr h="34261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ype</a:t>
                      </a:r>
                      <a:r>
                        <a:rPr lang="en-US" sz="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Consumption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208035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ntane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78988"/>
                  </a:ext>
                </a:extLst>
              </a:tr>
            </a:tbl>
          </a:graphicData>
        </a:graphic>
      </p:graphicFrame>
      <p:sp>
        <p:nvSpPr>
          <p:cNvPr id="20" name="Title 3"/>
          <p:cNvSpPr txBox="1">
            <a:spLocks/>
          </p:cNvSpPr>
          <p:nvPr/>
        </p:nvSpPr>
        <p:spPr>
          <a:xfrm>
            <a:off x="314960" y="1649248"/>
            <a:ext cx="2437119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5W Behavioral Chang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7" name="Slide Number Placeholder 3">
            <a:extLst>
              <a:ext uri="{FF2B5EF4-FFF2-40B4-BE49-F238E27FC236}">
                <a16:creationId xmlns:a16="http://schemas.microsoft.com/office/drawing/2014/main" id="{439F6B8E-0229-45DE-BDF2-32A724EDE08B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133112013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sp>
        <p:nvSpPr>
          <p:cNvPr id="20" name="Title 3"/>
          <p:cNvSpPr txBox="1">
            <a:spLocks/>
          </p:cNvSpPr>
          <p:nvPr/>
        </p:nvSpPr>
        <p:spPr>
          <a:xfrm>
            <a:off x="314960" y="1648460"/>
            <a:ext cx="2437119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5W Behavioral Chang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7" name="Slide Number Placeholder 3">
            <a:extLst>
              <a:ext uri="{FF2B5EF4-FFF2-40B4-BE49-F238E27FC236}">
                <a16:creationId xmlns:a16="http://schemas.microsoft.com/office/drawing/2014/main" id="{439F6B8E-0229-45DE-BDF2-32A724EDE08B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graphicFrame>
        <p:nvGraphicFramePr>
          <p:cNvPr id="1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8779859"/>
              </p:ext>
            </p:extLst>
          </p:nvPr>
        </p:nvGraphicFramePr>
        <p:xfrm>
          <a:off x="3539027" y="610037"/>
          <a:ext cx="5287053" cy="4911247"/>
        </p:xfrm>
        <a:graphic>
          <a:graphicData uri="http://schemas.openxmlformats.org/drawingml/2006/table">
            <a:tbl>
              <a:tblPr/>
              <a:tblGrid>
                <a:gridCol w="88574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93520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529189011"/>
                    </a:ext>
                  </a:extLst>
                </a:gridCol>
              </a:tblGrid>
              <a:tr h="331656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42619"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e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H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42619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o Wi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Oth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42619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al Ti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eas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ven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ur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018931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z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163499"/>
                  </a:ext>
                </a:extLst>
              </a:tr>
              <a:tr h="34261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ype</a:t>
                      </a:r>
                      <a:r>
                        <a:rPr lang="en-US" sz="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Consumption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208035"/>
                  </a:ext>
                </a:extLst>
              </a:tr>
              <a:tr h="342619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ntane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789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01215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325244"/>
              </p:ext>
            </p:extLst>
          </p:nvPr>
        </p:nvGraphicFramePr>
        <p:xfrm>
          <a:off x="3539027" y="853805"/>
          <a:ext cx="7247413" cy="5150390"/>
        </p:xfrm>
        <a:graphic>
          <a:graphicData uri="http://schemas.openxmlformats.org/drawingml/2006/table">
            <a:tbl>
              <a:tblPr/>
              <a:tblGrid>
                <a:gridCol w="63414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343793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658684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658684">
                  <a:extLst>
                    <a:ext uri="{9D8B030D-6E8A-4147-A177-3AD203B41FA5}">
                      <a16:colId xmlns:a16="http://schemas.microsoft.com/office/drawing/2014/main" val="1603802140"/>
                    </a:ext>
                  </a:extLst>
                </a:gridCol>
                <a:gridCol w="658684">
                  <a:extLst>
                    <a:ext uri="{9D8B030D-6E8A-4147-A177-3AD203B41FA5}">
                      <a16:colId xmlns:a16="http://schemas.microsoft.com/office/drawing/2014/main" val="2050190072"/>
                    </a:ext>
                  </a:extLst>
                </a:gridCol>
                <a:gridCol w="658684">
                  <a:extLst>
                    <a:ext uri="{9D8B030D-6E8A-4147-A177-3AD203B41FA5}">
                      <a16:colId xmlns:a16="http://schemas.microsoft.com/office/drawing/2014/main" val="1594333777"/>
                    </a:ext>
                  </a:extLst>
                </a:gridCol>
                <a:gridCol w="658684">
                  <a:extLst>
                    <a:ext uri="{9D8B030D-6E8A-4147-A177-3AD203B41FA5}">
                      <a16:colId xmlns:a16="http://schemas.microsoft.com/office/drawing/2014/main" val="4053479558"/>
                    </a:ext>
                  </a:extLst>
                </a:gridCol>
                <a:gridCol w="658684">
                  <a:extLst>
                    <a:ext uri="{9D8B030D-6E8A-4147-A177-3AD203B41FA5}">
                      <a16:colId xmlns:a16="http://schemas.microsoft.com/office/drawing/2014/main" val="4169584678"/>
                    </a:ext>
                  </a:extLst>
                </a:gridCol>
                <a:gridCol w="658684">
                  <a:extLst>
                    <a:ext uri="{9D8B030D-6E8A-4147-A177-3AD203B41FA5}">
                      <a16:colId xmlns:a16="http://schemas.microsoft.com/office/drawing/2014/main" val="384784391"/>
                    </a:ext>
                  </a:extLst>
                </a:gridCol>
                <a:gridCol w="658684">
                  <a:extLst>
                    <a:ext uri="{9D8B030D-6E8A-4147-A177-3AD203B41FA5}">
                      <a16:colId xmlns:a16="http://schemas.microsoft.com/office/drawing/2014/main" val="840511002"/>
                    </a:ext>
                  </a:extLst>
                </a:gridCol>
              </a:tblGrid>
              <a:tr h="310735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10735"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e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10735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4-1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464390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13-2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illennial (22-3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X (39-5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omers (55-7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1073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ddle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c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1073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Siz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to 2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119409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to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434683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e than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319747"/>
                  </a:ext>
                </a:extLst>
              </a:tr>
              <a:tr h="31073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with</a:t>
                      </a:r>
                      <a:r>
                        <a:rPr lang="en-US" sz="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id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0667255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out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390545"/>
                  </a:ext>
                </a:extLst>
              </a:tr>
            </a:tbl>
          </a:graphicData>
        </a:graphic>
      </p:graphicFrame>
      <p:sp>
        <p:nvSpPr>
          <p:cNvPr id="20" name="Title 3"/>
          <p:cNvSpPr txBox="1">
            <a:spLocks/>
          </p:cNvSpPr>
          <p:nvPr/>
        </p:nvSpPr>
        <p:spPr>
          <a:xfrm>
            <a:off x="314960" y="1650745"/>
            <a:ext cx="2762295" cy="201219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Demographic Chang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67BBD81C-B201-40CD-81BF-780D12C7A479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98985365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sp>
        <p:nvSpPr>
          <p:cNvPr id="20" name="Title 3"/>
          <p:cNvSpPr txBox="1">
            <a:spLocks/>
          </p:cNvSpPr>
          <p:nvPr/>
        </p:nvSpPr>
        <p:spPr>
          <a:xfrm>
            <a:off x="314960" y="1650745"/>
            <a:ext cx="2762295" cy="201219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Demographic Chang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67BBD81C-B201-40CD-81BF-780D12C7A479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2339" y="48336"/>
            <a:ext cx="25074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Occasion Sizing, Shifting and Behavioral Chang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graphicFrame>
        <p:nvGraphicFramePr>
          <p:cNvPr id="13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7372742"/>
              </p:ext>
            </p:extLst>
          </p:nvPr>
        </p:nvGraphicFramePr>
        <p:xfrm>
          <a:off x="3539027" y="869887"/>
          <a:ext cx="5430806" cy="5118225"/>
        </p:xfrm>
        <a:graphic>
          <a:graphicData uri="http://schemas.openxmlformats.org/drawingml/2006/table">
            <a:tbl>
              <a:tblPr/>
              <a:tblGrid>
                <a:gridCol w="673894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849120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03802140"/>
                    </a:ext>
                  </a:extLst>
                </a:gridCol>
              </a:tblGrid>
              <a:tr h="310735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10735"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e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10735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4-1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464390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13-2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illennial (22-3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X (39-5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omers (55-7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1073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ddle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c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1073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Siz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to 2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119409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to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434683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e than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319747"/>
                  </a:ext>
                </a:extLst>
              </a:tr>
              <a:tr h="31073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with</a:t>
                      </a:r>
                      <a:r>
                        <a:rPr lang="en-US" sz="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id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0667255"/>
                  </a:ext>
                </a:extLst>
              </a:tr>
              <a:tr h="31073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out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3905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226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669625" y="2490103"/>
            <a:ext cx="4416907" cy="22242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Occasions will influence all aspects of the business…</a:t>
            </a:r>
          </a:p>
        </p:txBody>
      </p:sp>
      <p:sp>
        <p:nvSpPr>
          <p:cNvPr id="8" name="Trapezoid 7"/>
          <p:cNvSpPr/>
          <p:nvPr/>
        </p:nvSpPr>
        <p:spPr bwMode="auto">
          <a:xfrm>
            <a:off x="10023" y="205594"/>
            <a:ext cx="2469673" cy="279613"/>
          </a:xfrm>
          <a:prstGeom prst="trapezoid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0885" tIns="0" rIns="70885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8999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B5C5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2777593" y="2380358"/>
            <a:ext cx="2125788" cy="526178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PORTFOLIO</a:t>
            </a:r>
          </a:p>
        </p:txBody>
      </p:sp>
      <p:sp>
        <p:nvSpPr>
          <p:cNvPr id="26" name="TextBox 5"/>
          <p:cNvSpPr txBox="1">
            <a:spLocks noChangeArrowheads="1"/>
          </p:cNvSpPr>
          <p:nvPr/>
        </p:nvSpPr>
        <p:spPr bwMode="auto">
          <a:xfrm>
            <a:off x="5194005" y="2326059"/>
            <a:ext cx="5120640" cy="64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99" tIns="44911" rIns="89699" bIns="44911">
            <a:spAutoFit/>
          </a:bodyPr>
          <a:lstStyle>
            <a:lvl1pPr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1pPr>
            <a:lvl2pPr marL="742950" indent="-28575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2pPr>
            <a:lvl3pPr marL="11430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3pPr>
            <a:lvl4pPr marL="16002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4pPr>
            <a:lvl5pPr marL="20574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9pPr>
          </a:lstStyle>
          <a:p>
            <a:pPr marL="0" marR="0" lvl="0" indent="0" algn="l" defTabSz="448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Optimize portfolio by maximizing reach &amp;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minimizing duplication</a:t>
            </a:r>
          </a:p>
        </p:txBody>
      </p:sp>
      <p:sp>
        <p:nvSpPr>
          <p:cNvPr id="23" name="Isosceles Triangle 22"/>
          <p:cNvSpPr/>
          <p:nvPr/>
        </p:nvSpPr>
        <p:spPr>
          <a:xfrm rot="5400000" flipH="1">
            <a:off x="4700560" y="2547039"/>
            <a:ext cx="577455" cy="17181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99" tIns="44911" rIns="89699" bIns="44911" rtlCol="0" anchor="ctr"/>
          <a:lstStyle/>
          <a:p>
            <a:pPr marL="0" marR="0" lvl="0" indent="0" algn="ctr" defTabSz="8556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99CC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2777593" y="5284483"/>
            <a:ext cx="2125788" cy="526178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EXECUTION</a:t>
            </a:r>
          </a:p>
        </p:txBody>
      </p:sp>
      <p:sp>
        <p:nvSpPr>
          <p:cNvPr id="27" name="TextBox 5"/>
          <p:cNvSpPr txBox="1">
            <a:spLocks noChangeArrowheads="1"/>
          </p:cNvSpPr>
          <p:nvPr/>
        </p:nvSpPr>
        <p:spPr bwMode="auto">
          <a:xfrm>
            <a:off x="5194005" y="5227532"/>
            <a:ext cx="5120640" cy="64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99" tIns="44911" rIns="89699" bIns="44911">
            <a:spAutoFit/>
          </a:bodyPr>
          <a:lstStyle>
            <a:lvl1pPr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1pPr>
            <a:lvl2pPr marL="742950" indent="-28575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2pPr>
            <a:lvl3pPr marL="11430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3pPr>
            <a:lvl4pPr marL="16002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4pPr>
            <a:lvl5pPr marL="20574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Strengthen in-store execution, activatio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and shopper marketing</a:t>
            </a:r>
          </a:p>
        </p:txBody>
      </p:sp>
      <p:sp>
        <p:nvSpPr>
          <p:cNvPr id="24" name="Isosceles Triangle 23"/>
          <p:cNvSpPr/>
          <p:nvPr/>
        </p:nvSpPr>
        <p:spPr>
          <a:xfrm rot="5400000" flipH="1">
            <a:off x="4700560" y="5461666"/>
            <a:ext cx="577455" cy="17181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99" tIns="44911" rIns="89699" bIns="44911" rtlCol="0" anchor="ctr"/>
          <a:lstStyle/>
          <a:p>
            <a:pPr marL="0" marR="0" lvl="0" indent="0" algn="ctr" defTabSz="8556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99CC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2777593" y="4316442"/>
            <a:ext cx="2125788" cy="526178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INNOVATION</a:t>
            </a:r>
          </a:p>
        </p:txBody>
      </p:sp>
      <p:sp>
        <p:nvSpPr>
          <p:cNvPr id="28" name="TextBox 5"/>
          <p:cNvSpPr txBox="1">
            <a:spLocks noChangeArrowheads="1"/>
          </p:cNvSpPr>
          <p:nvPr/>
        </p:nvSpPr>
        <p:spPr bwMode="auto">
          <a:xfrm>
            <a:off x="5194005" y="4260375"/>
            <a:ext cx="5120640" cy="64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99" tIns="44911" rIns="89699" bIns="44911">
            <a:spAutoFit/>
          </a:bodyPr>
          <a:lstStyle>
            <a:lvl1pPr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1pPr>
            <a:lvl2pPr marL="742950" indent="-28575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2pPr>
            <a:lvl3pPr marL="11430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3pPr>
            <a:lvl4pPr marL="16002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4pPr>
            <a:lvl5pPr marL="20574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Identify innovation spaces, inspire ideation, guide and shape development </a:t>
            </a:r>
          </a:p>
        </p:txBody>
      </p:sp>
      <p:sp>
        <p:nvSpPr>
          <p:cNvPr id="25" name="Isosceles Triangle 24"/>
          <p:cNvSpPr/>
          <p:nvPr/>
        </p:nvSpPr>
        <p:spPr>
          <a:xfrm rot="5400000" flipH="1">
            <a:off x="4700560" y="4490123"/>
            <a:ext cx="577455" cy="17181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99" tIns="44911" rIns="89699" bIns="44911" rtlCol="0" anchor="ctr"/>
          <a:lstStyle/>
          <a:p>
            <a:pPr marL="0" marR="0" lvl="0" indent="0" algn="ctr" defTabSz="8556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99CC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2777593" y="3348400"/>
            <a:ext cx="2125788" cy="526178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BRAND</a:t>
            </a:r>
          </a:p>
        </p:txBody>
      </p:sp>
      <p:sp>
        <p:nvSpPr>
          <p:cNvPr id="31" name="TextBox 5"/>
          <p:cNvSpPr txBox="1">
            <a:spLocks noChangeArrowheads="1"/>
          </p:cNvSpPr>
          <p:nvPr/>
        </p:nvSpPr>
        <p:spPr bwMode="auto">
          <a:xfrm>
            <a:off x="5194005" y="3293217"/>
            <a:ext cx="5120640" cy="64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99" tIns="44911" rIns="89699" bIns="44911">
            <a:spAutoFit/>
          </a:bodyPr>
          <a:lstStyle>
            <a:lvl1pPr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1pPr>
            <a:lvl2pPr marL="742950" indent="-28575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2pPr>
            <a:lvl3pPr marL="11430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3pPr>
            <a:lvl4pPr marL="16002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4pPr>
            <a:lvl5pPr marL="20574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9pPr>
          </a:lstStyle>
          <a:p>
            <a:pPr marL="0" marR="0" lvl="0" indent="0" algn="l" defTabSz="448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Strengthen and build brands by maximizing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relevance, distinctiveness, clarity and credibility </a:t>
            </a:r>
          </a:p>
        </p:txBody>
      </p:sp>
      <p:sp>
        <p:nvSpPr>
          <p:cNvPr id="30" name="Isosceles Triangle 29"/>
          <p:cNvSpPr/>
          <p:nvPr/>
        </p:nvSpPr>
        <p:spPr>
          <a:xfrm rot="5400000" flipH="1">
            <a:off x="4700560" y="3518581"/>
            <a:ext cx="577455" cy="17181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99" tIns="44911" rIns="89699" bIns="44911" rtlCol="0" anchor="ctr"/>
          <a:lstStyle/>
          <a:p>
            <a:pPr marL="0" marR="0" lvl="0" indent="0" algn="ctr" defTabSz="8556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99CC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2777593" y="1398314"/>
            <a:ext cx="2125788" cy="526178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CATEGORY</a:t>
            </a:r>
          </a:p>
        </p:txBody>
      </p:sp>
      <p:sp>
        <p:nvSpPr>
          <p:cNvPr id="34" name="TextBox 5"/>
          <p:cNvSpPr txBox="1">
            <a:spLocks noChangeArrowheads="1"/>
          </p:cNvSpPr>
          <p:nvPr/>
        </p:nvSpPr>
        <p:spPr bwMode="auto">
          <a:xfrm>
            <a:off x="5194005" y="1358901"/>
            <a:ext cx="5120640" cy="64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99" tIns="44911" rIns="89699" bIns="44911">
            <a:spAutoFit/>
          </a:bodyPr>
          <a:lstStyle>
            <a:lvl1pPr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1pPr>
            <a:lvl2pPr marL="742950" indent="-28575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2pPr>
            <a:lvl3pPr marL="11430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3pPr>
            <a:lvl4pPr marL="16002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4pPr>
            <a:lvl5pPr marL="2057400" indent="-228600" defTabSz="457200"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9pPr>
          </a:lstStyle>
          <a:p>
            <a:pPr marL="0" marR="0" lvl="0" indent="0" algn="l" defTabSz="448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Unlock category growth opportunities both within our current categories as well as expansion </a:t>
            </a:r>
          </a:p>
        </p:txBody>
      </p:sp>
      <p:sp>
        <p:nvSpPr>
          <p:cNvPr id="33" name="Isosceles Triangle 32"/>
          <p:cNvSpPr/>
          <p:nvPr/>
        </p:nvSpPr>
        <p:spPr>
          <a:xfrm rot="5400000" flipH="1">
            <a:off x="4700560" y="1575497"/>
            <a:ext cx="577455" cy="17181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99" tIns="44911" rIns="89699" bIns="44911" rtlCol="0" anchor="ctr"/>
          <a:lstStyle/>
          <a:p>
            <a:pPr marL="0" marR="0" lvl="0" indent="0" algn="ctr" defTabSz="8556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99CC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21E72-443C-4A44-A5C3-2AF9B49A42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10307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3326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54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8760" y="2285713"/>
            <a:ext cx="9851661" cy="1595698"/>
          </a:xfrm>
        </p:spPr>
        <p:txBody>
          <a:bodyPr anchor="ctr">
            <a:normAutofit/>
          </a:bodyPr>
          <a:lstStyle/>
          <a:p>
            <a:r>
              <a:rPr lang="en-US" dirty="0"/>
              <a:t>Kellogg Category Perform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8401ED-4D2E-4AEF-9E2A-B1EC240303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672" y="6532931"/>
            <a:ext cx="444062" cy="275677"/>
          </a:xfrm>
        </p:spPr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0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344493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9"/>
          <p:cNvSpPr txBox="1">
            <a:spLocks/>
          </p:cNvSpPr>
          <p:nvPr/>
        </p:nvSpPr>
        <p:spPr>
          <a:xfrm>
            <a:off x="127893" y="98044"/>
            <a:ext cx="7864660" cy="43383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B1348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graphicFrame>
        <p:nvGraphicFramePr>
          <p:cNvPr id="21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0557410"/>
              </p:ext>
            </p:extLst>
          </p:nvPr>
        </p:nvGraphicFramePr>
        <p:xfrm>
          <a:off x="2415654" y="871453"/>
          <a:ext cx="9707513" cy="5799348"/>
        </p:xfrm>
        <a:graphic>
          <a:graphicData uri="http://schemas.openxmlformats.org/drawingml/2006/table">
            <a:tbl>
              <a:tblPr/>
              <a:tblGrid>
                <a:gridCol w="131018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3371938746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2999876939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490726960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1611897108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4235892535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4283327249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4010058802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1152435842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2855553954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3457470561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376752181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1716628839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1533024854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2845244996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1546878938"/>
                    </a:ext>
                  </a:extLst>
                </a:gridCol>
                <a:gridCol w="524833">
                  <a:extLst>
                    <a:ext uri="{9D8B030D-6E8A-4147-A177-3AD203B41FA5}">
                      <a16:colId xmlns:a16="http://schemas.microsoft.com/office/drawing/2014/main" val="380240504"/>
                    </a:ext>
                  </a:extLst>
                </a:gridCol>
              </a:tblGrid>
              <a:tr h="236968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ereal</a:t>
                      </a:r>
                      <a:endParaRPr lang="en-US" sz="900" b="1" i="0" u="none" strike="noStrike" kern="1200" baseline="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hare of Occasion</a:t>
                      </a: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EC</a:t>
                      </a:r>
                      <a:r>
                        <a:rPr lang="en-US" sz="9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hare of Occasion</a:t>
                      </a: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53080"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48438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For 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at Work/Sch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595075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noon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 Work/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100962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641244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073321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604377"/>
                  </a:ext>
                </a:extLst>
              </a:tr>
              <a:tr h="2883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dtime/Late Night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D2CE1D79-708A-4E89-9A80-B997AEE333AB}"/>
              </a:ext>
            </a:extLst>
          </p:cNvPr>
          <p:cNvSpPr/>
          <p:nvPr/>
        </p:nvSpPr>
        <p:spPr>
          <a:xfrm>
            <a:off x="4314198" y="351767"/>
            <a:ext cx="7808976" cy="44708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square" lIns="182880" tIns="182880" rIns="182880" bIns="182880" anchor="ctr">
            <a:noAutofit/>
          </a:bodyPr>
          <a:lstStyle/>
          <a:p>
            <a:pPr marL="0" marR="0" lvl="0" indent="0" algn="ctr" defTabSz="124684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DB1348"/>
              </a:buClr>
              <a:buSzPct val="150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real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Cold Cereal, Granola, Muesli, Oatmeal, Hot Cereals  | 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TEC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Cold Cereal only</a:t>
            </a:r>
          </a:p>
        </p:txBody>
      </p:sp>
      <p:sp>
        <p:nvSpPr>
          <p:cNvPr id="20" name="CategoryName"/>
          <p:cNvSpPr txBox="1">
            <a:spLocks/>
          </p:cNvSpPr>
          <p:nvPr/>
        </p:nvSpPr>
        <p:spPr>
          <a:xfrm>
            <a:off x="42044" y="2422905"/>
            <a:ext cx="2654892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Cereal Performanc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2339" y="48336"/>
            <a:ext cx="1683474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Kellogg Category Performance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578794B5-A807-429D-B237-E0BDF43837A8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292660806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9"/>
          <p:cNvSpPr txBox="1">
            <a:spLocks/>
          </p:cNvSpPr>
          <p:nvPr/>
        </p:nvSpPr>
        <p:spPr>
          <a:xfrm>
            <a:off x="127893" y="98044"/>
            <a:ext cx="7864660" cy="43383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B1348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graphicFrame>
        <p:nvGraphicFramePr>
          <p:cNvPr id="21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0444699"/>
              </p:ext>
            </p:extLst>
          </p:nvPr>
        </p:nvGraphicFramePr>
        <p:xfrm>
          <a:off x="3539027" y="927175"/>
          <a:ext cx="8048568" cy="5547360"/>
        </p:xfrm>
        <a:graphic>
          <a:graphicData uri="http://schemas.openxmlformats.org/drawingml/2006/table">
            <a:tbl>
              <a:tblPr/>
              <a:tblGrid>
                <a:gridCol w="2232984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154098611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15243584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457470561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80240504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ereal</a:t>
                      </a:r>
                      <a:endParaRPr lang="en-US" sz="1100" b="1" i="0" u="none" strike="noStrike" kern="1200" baseline="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hare of Occasion</a:t>
                      </a: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EC</a:t>
                      </a: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hare of Occasion</a:t>
                      </a: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106233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48438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For 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kfast at Work/Sch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Lunch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595075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noon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fter Work/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100962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641244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073321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604377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dtime/Late Night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D2CE1D79-708A-4E89-9A80-B997AEE333AB}"/>
              </a:ext>
            </a:extLst>
          </p:cNvPr>
          <p:cNvSpPr/>
          <p:nvPr/>
        </p:nvSpPr>
        <p:spPr>
          <a:xfrm>
            <a:off x="5779008" y="425717"/>
            <a:ext cx="5808588" cy="44708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square" lIns="182880" tIns="182880" rIns="182880" bIns="182880" anchor="ctr">
            <a:noAutofit/>
          </a:bodyPr>
          <a:lstStyle/>
          <a:p>
            <a:pPr marL="0" marR="0" lvl="0" indent="0" algn="ctr" defTabSz="124684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DB1348"/>
              </a:buClr>
              <a:buSzPct val="150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real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Cold Cereal, Granola, Muesli, Oatmeal, Hot Cereals  | 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TEC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ranklin Gothic Book" panose="020B0503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Cold Cereal only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2339" y="48336"/>
            <a:ext cx="1683474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Franklin Gothic Medium Cond"/>
                <a:cs typeface="Arial"/>
              </a:rPr>
              <a:t>Kellogg Category Performance </a:t>
            </a:r>
          </a:p>
        </p:txBody>
      </p:sp>
      <p:sp>
        <p:nvSpPr>
          <p:cNvPr id="23" name="CategoryName">
            <a:extLst>
              <a:ext uri="{FF2B5EF4-FFF2-40B4-BE49-F238E27FC236}">
                <a16:creationId xmlns:a16="http://schemas.microsoft.com/office/drawing/2014/main" id="{FB99435A-736F-43BD-8A28-6F5EBD2D2D4D}"/>
              </a:ext>
            </a:extLst>
          </p:cNvPr>
          <p:cNvSpPr txBox="1">
            <a:spLocks/>
          </p:cNvSpPr>
          <p:nvPr/>
        </p:nvSpPr>
        <p:spPr>
          <a:xfrm>
            <a:off x="42044" y="2422905"/>
            <a:ext cx="2654892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Cereal Performanc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825C62-FBBC-46AD-939B-0B4CB9D970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672" y="6546183"/>
            <a:ext cx="444062" cy="275677"/>
          </a:xfrm>
        </p:spPr>
        <p:txBody>
          <a:bodyPr/>
          <a:lstStyle/>
          <a:p>
            <a:fld id="{A26DCA39-FE7E-4B33-9419-C9BB65BD885E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18396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5469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3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 panose="020B0606030402020204" pitchFamily="34" charset="0"/>
              <a:ea typeface="+mj-ea"/>
              <a:cs typeface="Arial" panose="020B0604020202020204" pitchFamily="34" charset="0"/>
              <a:sym typeface="Franklin Gothic Medium Cond" panose="020B06060304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4" y="2779078"/>
            <a:ext cx="10308861" cy="822960"/>
          </a:xfrm>
        </p:spPr>
        <p:txBody>
          <a:bodyPr anchor="ctr">
            <a:normAutofit fontScale="90000"/>
          </a:bodyPr>
          <a:lstStyle/>
          <a:p>
            <a:r>
              <a:rPr lang="en-US" dirty="0"/>
              <a:t>QUARTER-OVER-QUARTER </a:t>
            </a:r>
            <a:br>
              <a:rPr lang="en-US" dirty="0"/>
            </a:br>
            <a:r>
              <a:rPr lang="en-US" sz="4000" dirty="0"/>
              <a:t>SUPPORTING DATA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11710672" y="6546183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4332694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54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4" y="2779078"/>
            <a:ext cx="9851661" cy="1595698"/>
          </a:xfrm>
        </p:spPr>
        <p:txBody>
          <a:bodyPr anchor="ctr">
            <a:normAutofit fontScale="90000"/>
          </a:bodyPr>
          <a:lstStyle/>
          <a:p>
            <a:r>
              <a:rPr lang="en-US" dirty="0"/>
              <a:t>Morning &amp; Afternoon Snacking</a:t>
            </a:r>
            <a:br>
              <a:rPr lang="en-US" dirty="0"/>
            </a:br>
            <a:r>
              <a:rPr lang="en-US" dirty="0"/>
              <a:t>Occas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D8D999-B573-40A7-B0D4-0C13485CCB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4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39337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820610"/>
              </p:ext>
            </p:extLst>
          </p:nvPr>
        </p:nvGraphicFramePr>
        <p:xfrm>
          <a:off x="2823414" y="397657"/>
          <a:ext cx="9299760" cy="6389748"/>
        </p:xfrm>
        <a:graphic>
          <a:graphicData uri="http://schemas.openxmlformats.org/drawingml/2006/table">
            <a:tbl>
              <a:tblPr/>
              <a:tblGrid>
                <a:gridCol w="1524000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3070938631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857245397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141958989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667852660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955384061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201310865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1079838956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3528222587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3354378147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3614670825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3861369463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1292677048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3122482986"/>
                    </a:ext>
                  </a:extLst>
                </a:gridCol>
                <a:gridCol w="485985">
                  <a:extLst>
                    <a:ext uri="{9D8B030D-6E8A-4147-A177-3AD203B41FA5}">
                      <a16:colId xmlns:a16="http://schemas.microsoft.com/office/drawing/2014/main" val="131530117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326871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9369461"/>
                  </a:ext>
                </a:extLst>
              </a:tr>
              <a:tr h="38630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repared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5707077"/>
                  </a:ext>
                </a:extLst>
              </a:tr>
              <a:tr h="32607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ozen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279195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er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615085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d/Bake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4683968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ogurt/Chee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7236980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uits and Vegg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597356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alty/Savory Snac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8437672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s/See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1174152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rack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351692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ok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8693302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ars/Bi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654586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s/Can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7299756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essert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613843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 Baked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122943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ain Meal Foo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187650"/>
                  </a:ext>
                </a:extLst>
              </a:tr>
              <a:tr h="3863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ritional Drinks/Smooth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7667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vera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6169870"/>
                  </a:ext>
                </a:extLst>
              </a:tr>
            </a:tbl>
          </a:graphicData>
        </a:graphic>
      </p:graphicFrame>
      <p:sp>
        <p:nvSpPr>
          <p:cNvPr id="16" name="Title 9"/>
          <p:cNvSpPr txBox="1">
            <a:spLocks/>
          </p:cNvSpPr>
          <p:nvPr/>
        </p:nvSpPr>
        <p:spPr>
          <a:xfrm>
            <a:off x="127893" y="98044"/>
            <a:ext cx="7864660" cy="43383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B1348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836205CA-7E6C-44E7-8359-6EC3AB80072E}"/>
              </a:ext>
            </a:extLst>
          </p:cNvPr>
          <p:cNvSpPr txBox="1">
            <a:spLocks/>
          </p:cNvSpPr>
          <p:nvPr/>
        </p:nvSpPr>
        <p:spPr>
          <a:xfrm>
            <a:off x="228600" y="2165822"/>
            <a:ext cx="325680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Category 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47769B-D127-463A-BA84-7CB1255D74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/>
              <a:t>45</a:t>
            </a:fld>
            <a:endParaRPr lang="en-US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0794BEFA-09D5-4FF4-BC2C-EEC75F4FEE3D}"/>
              </a:ext>
            </a:extLst>
          </p:cNvPr>
          <p:cNvSpPr txBox="1">
            <a:spLocks/>
          </p:cNvSpPr>
          <p:nvPr/>
        </p:nvSpPr>
        <p:spPr>
          <a:xfrm>
            <a:off x="11757056" y="6552811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311083141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8432255"/>
              </p:ext>
            </p:extLst>
          </p:nvPr>
        </p:nvGraphicFramePr>
        <p:xfrm>
          <a:off x="2855495" y="394337"/>
          <a:ext cx="9267673" cy="6613045"/>
        </p:xfrm>
        <a:graphic>
          <a:graphicData uri="http://schemas.openxmlformats.org/drawingml/2006/table">
            <a:tbl>
              <a:tblPr/>
              <a:tblGrid>
                <a:gridCol w="1380137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3070938631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857245397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141958989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667852660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955384061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201310865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1079838956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3528222587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3354378147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3614670825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3861369463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1292677048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3122482986"/>
                    </a:ext>
                  </a:extLst>
                </a:gridCol>
                <a:gridCol w="492971">
                  <a:extLst>
                    <a:ext uri="{9D8B030D-6E8A-4147-A177-3AD203B41FA5}">
                      <a16:colId xmlns:a16="http://schemas.microsoft.com/office/drawing/2014/main" val="1315301179"/>
                    </a:ext>
                  </a:extLst>
                </a:gridCol>
              </a:tblGrid>
              <a:tr h="29715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Snack</a:t>
                      </a:r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 Work/ 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326871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9369461"/>
                  </a:ext>
                </a:extLst>
              </a:tr>
              <a:tr h="38630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repared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5707077"/>
                  </a:ext>
                </a:extLst>
              </a:tr>
              <a:tr h="32607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ozen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279195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er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615085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d/Bake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4683968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ogurt/Chee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7236980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uits and Vegg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597356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alty/Savory Snac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8437672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s/See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1174152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rack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351692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ok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8693302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ars/Bi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654586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s/Can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7299756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essert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613843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 Baked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122943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ain Meal Foo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187650"/>
                  </a:ext>
                </a:extLst>
              </a:tr>
              <a:tr h="38630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ritional Drinks/Smooth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7667"/>
                  </a:ext>
                </a:extLst>
              </a:tr>
              <a:tr h="252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vera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6169870"/>
                  </a:ext>
                </a:extLst>
              </a:tr>
            </a:tbl>
          </a:graphicData>
        </a:graphic>
      </p:graphicFrame>
      <p:sp>
        <p:nvSpPr>
          <p:cNvPr id="16" name="Title 9"/>
          <p:cNvSpPr txBox="1">
            <a:spLocks/>
          </p:cNvSpPr>
          <p:nvPr/>
        </p:nvSpPr>
        <p:spPr>
          <a:xfrm>
            <a:off x="127893" y="98044"/>
            <a:ext cx="7864660" cy="43383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B1348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836205CA-7E6C-44E7-8359-6EC3AB80072E}"/>
              </a:ext>
            </a:extLst>
          </p:cNvPr>
          <p:cNvSpPr txBox="1">
            <a:spLocks/>
          </p:cNvSpPr>
          <p:nvPr/>
        </p:nvSpPr>
        <p:spPr>
          <a:xfrm>
            <a:off x="228600" y="2165822"/>
            <a:ext cx="325680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Category 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9A8F0FE7-CCB3-4478-BEAB-1A4891842517}"/>
              </a:ext>
            </a:extLst>
          </p:cNvPr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975CCD-2682-4662-85E4-0D521FB90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672" y="6546183"/>
            <a:ext cx="444062" cy="275677"/>
          </a:xfrm>
        </p:spPr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46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16201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7249173"/>
              </p:ext>
            </p:extLst>
          </p:nvPr>
        </p:nvGraphicFramePr>
        <p:xfrm>
          <a:off x="3011495" y="1567907"/>
          <a:ext cx="9111679" cy="3208020"/>
        </p:xfrm>
        <a:graphic>
          <a:graphicData uri="http://schemas.openxmlformats.org/drawingml/2006/table">
            <a:tbl>
              <a:tblPr/>
              <a:tblGrid>
                <a:gridCol w="94849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81870387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54126354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769362808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3524576174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870119528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3545296380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4100673394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1848790249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187210574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1497092343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690951881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135142256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4294716811"/>
                    </a:ext>
                  </a:extLst>
                </a:gridCol>
              </a:tblGrid>
              <a:tr h="3017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 Benef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</a:tbl>
          </a:graphicData>
        </a:graphic>
      </p:graphicFrame>
      <p:sp>
        <p:nvSpPr>
          <p:cNvPr id="21" name="Title 3">
            <a:extLst>
              <a:ext uri="{FF2B5EF4-FFF2-40B4-BE49-F238E27FC236}">
                <a16:creationId xmlns:a16="http://schemas.microsoft.com/office/drawing/2014/main" id="{80CF32EB-83CF-40BD-9A8A-F762AD295ECB}"/>
              </a:ext>
            </a:extLst>
          </p:cNvPr>
          <p:cNvSpPr txBox="1">
            <a:spLocks/>
          </p:cNvSpPr>
          <p:nvPr/>
        </p:nvSpPr>
        <p:spPr>
          <a:xfrm>
            <a:off x="260588" y="2165822"/>
            <a:ext cx="325680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1DDDF1C9-D6DC-42F4-B4AF-183630B4A9FE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20">
            <a:extLst>
              <a:ext uri="{FF2B5EF4-FFF2-40B4-BE49-F238E27FC236}">
                <a16:creationId xmlns:a16="http://schemas.microsoft.com/office/drawing/2014/main" id="{4BFA3773-4DC5-4392-9825-98215F894AEC}"/>
              </a:ext>
            </a:extLst>
          </p:cNvPr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55715194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01733"/>
              </p:ext>
            </p:extLst>
          </p:nvPr>
        </p:nvGraphicFramePr>
        <p:xfrm>
          <a:off x="2819733" y="1308827"/>
          <a:ext cx="9111679" cy="3726180"/>
        </p:xfrm>
        <a:graphic>
          <a:graphicData uri="http://schemas.openxmlformats.org/drawingml/2006/table">
            <a:tbl>
              <a:tblPr/>
              <a:tblGrid>
                <a:gridCol w="94849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81870387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54126354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769362808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3524576174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870119528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3545296380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4100673394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1848790249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187210574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1497092343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690951881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2135142256"/>
                    </a:ext>
                  </a:extLst>
                </a:gridCol>
                <a:gridCol w="510199">
                  <a:extLst>
                    <a:ext uri="{9D8B030D-6E8A-4147-A177-3AD203B41FA5}">
                      <a16:colId xmlns:a16="http://schemas.microsoft.com/office/drawing/2014/main" val="4294716811"/>
                    </a:ext>
                  </a:extLst>
                </a:gridCol>
              </a:tblGrid>
              <a:tr h="3017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Snack</a:t>
                      </a:r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 Work/ 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 Benef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</a:tbl>
          </a:graphicData>
        </a:graphic>
      </p:graphicFrame>
      <p:sp>
        <p:nvSpPr>
          <p:cNvPr id="21" name="Title 3">
            <a:extLst>
              <a:ext uri="{FF2B5EF4-FFF2-40B4-BE49-F238E27FC236}">
                <a16:creationId xmlns:a16="http://schemas.microsoft.com/office/drawing/2014/main" id="{80CF32EB-83CF-40BD-9A8A-F762AD295ECB}"/>
              </a:ext>
            </a:extLst>
          </p:cNvPr>
          <p:cNvSpPr txBox="1">
            <a:spLocks/>
          </p:cNvSpPr>
          <p:nvPr/>
        </p:nvSpPr>
        <p:spPr>
          <a:xfrm>
            <a:off x="260588" y="2165822"/>
            <a:ext cx="325680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1DDDF1C9-D6DC-42F4-B4AF-183630B4A9FE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20">
            <a:extLst>
              <a:ext uri="{FF2B5EF4-FFF2-40B4-BE49-F238E27FC236}">
                <a16:creationId xmlns:a16="http://schemas.microsoft.com/office/drawing/2014/main" id="{EEF39982-E5E0-40FD-A6A2-FB9BB8AC0CD0}"/>
              </a:ext>
            </a:extLst>
          </p:cNvPr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51669544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9882899"/>
              </p:ext>
            </p:extLst>
          </p:nvPr>
        </p:nvGraphicFramePr>
        <p:xfrm>
          <a:off x="2374229" y="344856"/>
          <a:ext cx="9748939" cy="6957074"/>
        </p:xfrm>
        <a:graphic>
          <a:graphicData uri="http://schemas.openxmlformats.org/drawingml/2006/table">
            <a:tbl>
              <a:tblPr/>
              <a:tblGrid>
                <a:gridCol w="145927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1062559961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772145618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1751179464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2876961201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2819319505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3926975073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2953458399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2682861449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4081298398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2041158617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3723524396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379393701"/>
                    </a:ext>
                  </a:extLst>
                </a:gridCol>
                <a:gridCol w="518104">
                  <a:extLst>
                    <a:ext uri="{9D8B030D-6E8A-4147-A177-3AD203B41FA5}">
                      <a16:colId xmlns:a16="http://schemas.microsoft.com/office/drawing/2014/main" val="976072134"/>
                    </a:ext>
                  </a:extLst>
                </a:gridCol>
              </a:tblGrid>
              <a:tr h="2975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327345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a strong, intense 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5294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simple and 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prote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6620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fi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53565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no artificial flavors/colors/preservativ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6620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low in salt/so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from natural ingr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with whole gra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6620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visible 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no artificial sweete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6620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low/no sug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6620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fresh/freshly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higher quality / 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5294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t is not intru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6620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es not make a m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sy to eat with one h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21" name="Title 3">
            <a:extLst>
              <a:ext uri="{FF2B5EF4-FFF2-40B4-BE49-F238E27FC236}">
                <a16:creationId xmlns:a16="http://schemas.microsoft.com/office/drawing/2014/main" id="{0A5093CD-FB95-42F9-BD19-5E0FA70F5ADE}"/>
              </a:ext>
            </a:extLst>
          </p:cNvPr>
          <p:cNvSpPr txBox="1">
            <a:spLocks/>
          </p:cNvSpPr>
          <p:nvPr/>
        </p:nvSpPr>
        <p:spPr>
          <a:xfrm>
            <a:off x="260589" y="2165822"/>
            <a:ext cx="211364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Detailed 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7FA1CFF0-BB3E-4ACD-9C76-66DF0D679FB0}"/>
              </a:ext>
            </a:extLst>
          </p:cNvPr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1C990E-77E1-48DB-9578-C2E6D6B12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10672" y="6546183"/>
            <a:ext cx="444062" cy="275677"/>
          </a:xfrm>
        </p:spPr>
        <p:txBody>
          <a:bodyPr/>
          <a:lstStyle/>
          <a:p>
            <a:pPr algn="ctr"/>
            <a:fld id="{8A0054E3-373C-6A40-AC7B-353BACBE9E45}" type="slidenum">
              <a:rPr lang="es-ES" sz="700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49</a:t>
            </a:fld>
            <a:endParaRPr lang="es-ES" sz="700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3312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661" y="121420"/>
            <a:ext cx="11583312" cy="1515954"/>
          </a:xfrm>
        </p:spPr>
        <p:txBody>
          <a:bodyPr>
            <a:normAutofit/>
          </a:bodyPr>
          <a:lstStyle/>
          <a:p>
            <a:pPr lvl="0" defTabSz="701368">
              <a:defRPr/>
            </a:pPr>
            <a:r>
              <a:rPr lang="en-US" b="1" dirty="0"/>
              <a:t>Eating Occasions Shape Category Growth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0" y="1905957"/>
            <a:ext cx="12178204" cy="3046086"/>
            <a:chOff x="0" y="1754514"/>
            <a:chExt cx="12178204" cy="3046086"/>
          </a:xfrm>
        </p:grpSpPr>
        <p:sp>
          <p:nvSpPr>
            <p:cNvPr id="13" name="Title 1"/>
            <p:cNvSpPr txBox="1">
              <a:spLocks/>
            </p:cNvSpPr>
            <p:nvPr/>
          </p:nvSpPr>
          <p:spPr>
            <a:xfrm>
              <a:off x="0" y="1754514"/>
              <a:ext cx="7903403" cy="304608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vert="horz" wrap="square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kern="1200">
                  <a:solidFill>
                    <a:srgbClr val="DB1348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0" y="2319420"/>
              <a:ext cx="7903403" cy="1916275"/>
            </a:xfrm>
            <a:prstGeom prst="rect">
              <a:avLst/>
            </a:prstGeom>
          </p:spPr>
          <p:txBody>
            <a:bodyPr wrap="square" lIns="145143" tIns="72571" rIns="145143" bIns="72571">
              <a:spAutoFit/>
            </a:bodyPr>
            <a:lstStyle/>
            <a:p>
              <a:pPr marL="338289" marR="0" lvl="1" indent="-338289" algn="l" defTabSz="10885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 Cond"/>
                  <a:ea typeface="+mn-ea"/>
                  <a:cs typeface="+mn-cs"/>
                </a:rPr>
                <a:t>Identifying eating occasions where our foods could be relevant</a:t>
              </a:r>
            </a:p>
            <a:p>
              <a:pPr marL="338289" marR="0" lvl="1" indent="-338289" algn="l" defTabSz="10885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 Cond"/>
                  <a:ea typeface="+mn-ea"/>
                  <a:cs typeface="+mn-cs"/>
                </a:rPr>
                <a:t>Revealing barriers to consumption that we can overcome</a:t>
              </a:r>
            </a:p>
            <a:p>
              <a:pPr marL="338289" marR="0" lvl="1" indent="-338289" algn="l" defTabSz="10885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 Cond"/>
                  <a:ea typeface="+mn-ea"/>
                  <a:cs typeface="+mn-cs"/>
                </a:rPr>
                <a:t>Highlighting key insights to motivate people to choose our category</a:t>
              </a:r>
            </a:p>
            <a:p>
              <a:pPr marL="338289" marR="0" lvl="1" indent="-338289" algn="l" defTabSz="10885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 Cond"/>
                  <a:ea typeface="+mn-ea"/>
                  <a:cs typeface="+mn-cs"/>
                </a:rPr>
                <a:t>Guiding us to create new food, pack, and size offerings to better meet people’s needs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7500"/>
            <a:stretch/>
          </p:blipFill>
          <p:spPr>
            <a:xfrm>
              <a:off x="7903403" y="1754514"/>
              <a:ext cx="4274801" cy="3046086"/>
            </a:xfrm>
            <a:prstGeom prst="rect">
              <a:avLst/>
            </a:prstGeom>
          </p:spPr>
        </p:pic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2AD57F-216D-4A15-9353-83CA67E5A5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32979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852140"/>
              </p:ext>
            </p:extLst>
          </p:nvPr>
        </p:nvGraphicFramePr>
        <p:xfrm>
          <a:off x="2477690" y="342790"/>
          <a:ext cx="9645484" cy="7383794"/>
        </p:xfrm>
        <a:graphic>
          <a:graphicData uri="http://schemas.openxmlformats.org/drawingml/2006/table">
            <a:tbl>
              <a:tblPr/>
              <a:tblGrid>
                <a:gridCol w="144378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1062559961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772145618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1751179464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2876961201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2819319505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3926975073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2953458399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2682861449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4081298398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2041158617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3723524396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379393701"/>
                    </a:ext>
                  </a:extLst>
                </a:gridCol>
                <a:gridCol w="512606">
                  <a:extLst>
                    <a:ext uri="{9D8B030D-6E8A-4147-A177-3AD203B41FA5}">
                      <a16:colId xmlns:a16="http://schemas.microsoft.com/office/drawing/2014/main" val="976072134"/>
                    </a:ext>
                  </a:extLst>
                </a:gridCol>
              </a:tblGrid>
              <a:tr h="2975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Snack</a:t>
                      </a:r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 Work/ 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327345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a strong, intense 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5294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simple and 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prote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6620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fi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53565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no artificial flavors/colors/preservativ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6620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low in salt/so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from natural ingr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with whole gra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6620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visible 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no artificial sweete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6620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low/no sug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6620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fresh/freshly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higher quality / 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5294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t is not intru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6620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es not make a m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38686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sy to eat with one h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21" name="Title 3">
            <a:extLst>
              <a:ext uri="{FF2B5EF4-FFF2-40B4-BE49-F238E27FC236}">
                <a16:creationId xmlns:a16="http://schemas.microsoft.com/office/drawing/2014/main" id="{0A5093CD-FB95-42F9-BD19-5E0FA70F5ADE}"/>
              </a:ext>
            </a:extLst>
          </p:cNvPr>
          <p:cNvSpPr txBox="1">
            <a:spLocks/>
          </p:cNvSpPr>
          <p:nvPr/>
        </p:nvSpPr>
        <p:spPr>
          <a:xfrm>
            <a:off x="260589" y="2165822"/>
            <a:ext cx="211364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Detailed 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D4CDC15-344F-48C3-8F39-C5661F41ABCC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3933B9F1-0B84-48D0-8CD0-0DBF76F9FC16}"/>
              </a:ext>
            </a:extLst>
          </p:cNvPr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155033897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453105"/>
              </p:ext>
            </p:extLst>
          </p:nvPr>
        </p:nvGraphicFramePr>
        <p:xfrm>
          <a:off x="2665813" y="450009"/>
          <a:ext cx="9457361" cy="6714714"/>
        </p:xfrm>
        <a:graphic>
          <a:graphicData uri="http://schemas.openxmlformats.org/drawingml/2006/table">
            <a:tbl>
              <a:tblPr/>
              <a:tblGrid>
                <a:gridCol w="1475873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3676340069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1452771999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3973325141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2282092137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361985893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3071182159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144625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2015873261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943940947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4258710812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2303700335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3336859375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2494351350"/>
                    </a:ext>
                  </a:extLst>
                </a:gridCol>
              </a:tblGrid>
              <a:tr h="21244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169957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41426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y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41426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utine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18057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b &amp; G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9742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amily Enjoy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9742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Buy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9742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18057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nned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41426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at/Reward for Me or my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9742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ecific 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180579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41426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64795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 from a multi-pack/bag/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64795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larger/sharing/ multi-serve pack/bag/box/t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2665813" y="6095659"/>
            <a:ext cx="77182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ackaging asked of packaged categories only, excludes categories such as fruits/veggies, sweet baked goods, main meal foods, etc.</a:t>
            </a:r>
          </a:p>
        </p:txBody>
      </p:sp>
      <p:sp>
        <p:nvSpPr>
          <p:cNvPr id="23" name="Title 3">
            <a:extLst>
              <a:ext uri="{FF2B5EF4-FFF2-40B4-BE49-F238E27FC236}">
                <a16:creationId xmlns:a16="http://schemas.microsoft.com/office/drawing/2014/main" id="{9E28BA05-3EBC-49DF-A225-CC47C812173B}"/>
              </a:ext>
            </a:extLst>
          </p:cNvPr>
          <p:cNvSpPr txBox="1">
            <a:spLocks/>
          </p:cNvSpPr>
          <p:nvPr/>
        </p:nvSpPr>
        <p:spPr>
          <a:xfrm>
            <a:off x="68826" y="2165822"/>
            <a:ext cx="2144985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>
                <a:cs typeface="Arial"/>
              </a:rPr>
              <a:t>Shopper Mission &amp; Packaging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76D967F2-F042-4AB7-9390-E30D0B8F1953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0BDB3C2D-DDF9-46F9-8B92-C5A2BF37ACCE}"/>
              </a:ext>
            </a:extLst>
          </p:cNvPr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  <p:sp>
        <p:nvSpPr>
          <p:cNvPr id="13" name="NA">
            <a:extLst>
              <a:ext uri="{FF2B5EF4-FFF2-40B4-BE49-F238E27FC236}">
                <a16:creationId xmlns:a16="http://schemas.microsoft.com/office/drawing/2014/main" id="{FBE2F377-1074-4BD6-AC94-5264A81FEEBA}"/>
              </a:ext>
            </a:extLst>
          </p:cNvPr>
          <p:cNvSpPr txBox="1"/>
          <p:nvPr/>
        </p:nvSpPr>
        <p:spPr>
          <a:xfrm>
            <a:off x="5069848" y="2363533"/>
            <a:ext cx="39756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                  Not Applicable</a:t>
            </a:r>
          </a:p>
        </p:txBody>
      </p:sp>
    </p:spTree>
    <p:extLst>
      <p:ext uri="{BB962C8B-B14F-4D97-AF65-F5344CB8AC3E}">
        <p14:creationId xmlns:p14="http://schemas.microsoft.com/office/powerpoint/2010/main" val="196270365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7008648"/>
              </p:ext>
            </p:extLst>
          </p:nvPr>
        </p:nvGraphicFramePr>
        <p:xfrm>
          <a:off x="2665813" y="461087"/>
          <a:ext cx="9457361" cy="6928074"/>
        </p:xfrm>
        <a:graphic>
          <a:graphicData uri="http://schemas.openxmlformats.org/drawingml/2006/table">
            <a:tbl>
              <a:tblPr/>
              <a:tblGrid>
                <a:gridCol w="1475873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3676340069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1452771999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3973325141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2282092137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361985893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3071182159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144625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2015873261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943940947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4258710812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2303700335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3336859375"/>
                    </a:ext>
                  </a:extLst>
                </a:gridCol>
                <a:gridCol w="498843">
                  <a:extLst>
                    <a:ext uri="{9D8B030D-6E8A-4147-A177-3AD203B41FA5}">
                      <a16:colId xmlns:a16="http://schemas.microsoft.com/office/drawing/2014/main" val="2494351350"/>
                    </a:ext>
                  </a:extLst>
                </a:gridCol>
              </a:tblGrid>
              <a:tr h="21244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Snack</a:t>
                      </a:r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 Work/ 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169957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41426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y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41426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utine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18057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b &amp; G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9742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amily Enjoy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9742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Buy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9742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18057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nned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41426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at/Reward for Me or my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97424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ecific 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180579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5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41426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64795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 from a multi-pack/bag/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647959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larger/sharing/ multi-serve pack/bag/box/t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2665813" y="6119401"/>
            <a:ext cx="77182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ackaging asked of packaged categories only, excludes categories such as fruits/veggies, sweet baked goods, main meal foods, etc.</a:t>
            </a:r>
          </a:p>
        </p:txBody>
      </p:sp>
      <p:sp>
        <p:nvSpPr>
          <p:cNvPr id="23" name="Title 3">
            <a:extLst>
              <a:ext uri="{FF2B5EF4-FFF2-40B4-BE49-F238E27FC236}">
                <a16:creationId xmlns:a16="http://schemas.microsoft.com/office/drawing/2014/main" id="{9E28BA05-3EBC-49DF-A225-CC47C812173B}"/>
              </a:ext>
            </a:extLst>
          </p:cNvPr>
          <p:cNvSpPr txBox="1">
            <a:spLocks/>
          </p:cNvSpPr>
          <p:nvPr/>
        </p:nvSpPr>
        <p:spPr>
          <a:xfrm>
            <a:off x="68826" y="2165822"/>
            <a:ext cx="2346519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>
                <a:cs typeface="Arial"/>
              </a:rPr>
              <a:t>Shopper Mission &amp; Packaging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76D967F2-F042-4AB7-9390-E30D0B8F1953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2916457E-B153-473D-A0C6-395BBDDF942F}"/>
              </a:ext>
            </a:extLst>
          </p:cNvPr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  <p:sp>
        <p:nvSpPr>
          <p:cNvPr id="13" name="NA">
            <a:extLst>
              <a:ext uri="{FF2B5EF4-FFF2-40B4-BE49-F238E27FC236}">
                <a16:creationId xmlns:a16="http://schemas.microsoft.com/office/drawing/2014/main" id="{C766C568-BAB5-41E1-BEA4-52F097A065E0}"/>
              </a:ext>
            </a:extLst>
          </p:cNvPr>
          <p:cNvSpPr txBox="1"/>
          <p:nvPr/>
        </p:nvSpPr>
        <p:spPr>
          <a:xfrm>
            <a:off x="5046953" y="2397860"/>
            <a:ext cx="39756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                  Not Applicable</a:t>
            </a:r>
          </a:p>
        </p:txBody>
      </p:sp>
    </p:spTree>
    <p:extLst>
      <p:ext uri="{BB962C8B-B14F-4D97-AF65-F5344CB8AC3E}">
        <p14:creationId xmlns:p14="http://schemas.microsoft.com/office/powerpoint/2010/main" val="49178515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3446577"/>
              </p:ext>
            </p:extLst>
          </p:nvPr>
        </p:nvGraphicFramePr>
        <p:xfrm>
          <a:off x="2738540" y="771688"/>
          <a:ext cx="9352550" cy="5706769"/>
        </p:xfrm>
        <a:graphic>
          <a:graphicData uri="http://schemas.openxmlformats.org/drawingml/2006/table">
            <a:tbl>
              <a:tblPr/>
              <a:tblGrid>
                <a:gridCol w="646599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909487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2700891217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760080839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1126380919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1455423853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3411129351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1345070164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1700004983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2197592675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284050883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101523598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3419054088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1987910054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2834694331"/>
                    </a:ext>
                  </a:extLst>
                </a:gridCol>
                <a:gridCol w="487279">
                  <a:extLst>
                    <a:ext uri="{9D8B030D-6E8A-4147-A177-3AD203B41FA5}">
                      <a16:colId xmlns:a16="http://schemas.microsoft.com/office/drawing/2014/main" val="3277402203"/>
                    </a:ext>
                  </a:extLst>
                </a:gridCol>
              </a:tblGrid>
              <a:tr h="55172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2758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e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Home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0475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o Wi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Oth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04753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al Ti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eas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ven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ur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018931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z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163499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ype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Consumptio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208035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ntane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78988"/>
                  </a:ext>
                </a:extLst>
              </a:tr>
            </a:tbl>
          </a:graphicData>
        </a:graphic>
      </p:graphicFrame>
      <p:sp>
        <p:nvSpPr>
          <p:cNvPr id="19" name="Title 3">
            <a:extLst>
              <a:ext uri="{FF2B5EF4-FFF2-40B4-BE49-F238E27FC236}">
                <a16:creationId xmlns:a16="http://schemas.microsoft.com/office/drawing/2014/main" id="{B7C58100-0793-4E6A-B1E7-3F65D922F7FB}"/>
              </a:ext>
            </a:extLst>
          </p:cNvPr>
          <p:cNvSpPr txBox="1">
            <a:spLocks/>
          </p:cNvSpPr>
          <p:nvPr/>
        </p:nvSpPr>
        <p:spPr>
          <a:xfrm>
            <a:off x="355019" y="2863245"/>
            <a:ext cx="3256803" cy="100609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5W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6A689D7-7B46-4368-8CA2-A7A65F4E2548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20">
            <a:extLst>
              <a:ext uri="{FF2B5EF4-FFF2-40B4-BE49-F238E27FC236}">
                <a16:creationId xmlns:a16="http://schemas.microsoft.com/office/drawing/2014/main" id="{3D71E959-CC94-4A6E-84A9-D108EACFD086}"/>
              </a:ext>
            </a:extLst>
          </p:cNvPr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191783611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6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9683560"/>
              </p:ext>
            </p:extLst>
          </p:nvPr>
        </p:nvGraphicFramePr>
        <p:xfrm>
          <a:off x="2630905" y="698344"/>
          <a:ext cx="9492277" cy="5920129"/>
        </p:xfrm>
        <a:graphic>
          <a:graphicData uri="http://schemas.openxmlformats.org/drawingml/2006/table">
            <a:tbl>
              <a:tblPr/>
              <a:tblGrid>
                <a:gridCol w="656259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923074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2700891217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760080839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1126380919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1455423853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3411129351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1345070164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1700004983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2197592675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284050883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101523598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3419054088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1987910054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2834694331"/>
                    </a:ext>
                  </a:extLst>
                </a:gridCol>
                <a:gridCol w="494559">
                  <a:extLst>
                    <a:ext uri="{9D8B030D-6E8A-4147-A177-3AD203B41FA5}">
                      <a16:colId xmlns:a16="http://schemas.microsoft.com/office/drawing/2014/main" val="3277402203"/>
                    </a:ext>
                  </a:extLst>
                </a:gridCol>
              </a:tblGrid>
              <a:tr h="55172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Snack</a:t>
                      </a:r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 Work/ 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2758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e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Home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0475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o Wi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Oth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04753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al Ti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eas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ven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ur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018931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z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163499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ype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Consumptio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208035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ntane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78988"/>
                  </a:ext>
                </a:extLst>
              </a:tr>
            </a:tbl>
          </a:graphicData>
        </a:graphic>
      </p:graphicFrame>
      <p:sp>
        <p:nvSpPr>
          <p:cNvPr id="19" name="Title 3">
            <a:extLst>
              <a:ext uri="{FF2B5EF4-FFF2-40B4-BE49-F238E27FC236}">
                <a16:creationId xmlns:a16="http://schemas.microsoft.com/office/drawing/2014/main" id="{B7C58100-0793-4E6A-B1E7-3F65D922F7FB}"/>
              </a:ext>
            </a:extLst>
          </p:cNvPr>
          <p:cNvSpPr txBox="1">
            <a:spLocks/>
          </p:cNvSpPr>
          <p:nvPr/>
        </p:nvSpPr>
        <p:spPr>
          <a:xfrm>
            <a:off x="355019" y="2863245"/>
            <a:ext cx="3256803" cy="100609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5W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6A689D7-7B46-4368-8CA2-A7A65F4E2548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20">
            <a:extLst>
              <a:ext uri="{FF2B5EF4-FFF2-40B4-BE49-F238E27FC236}">
                <a16:creationId xmlns:a16="http://schemas.microsoft.com/office/drawing/2014/main" id="{64BB1594-2B92-450A-A8B2-AFBC58E6D94A}"/>
              </a:ext>
            </a:extLst>
          </p:cNvPr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410501538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726855"/>
              </p:ext>
            </p:extLst>
          </p:nvPr>
        </p:nvGraphicFramePr>
        <p:xfrm>
          <a:off x="3444263" y="543918"/>
          <a:ext cx="8710471" cy="6650844"/>
        </p:xfrm>
        <a:graphic>
          <a:graphicData uri="http://schemas.openxmlformats.org/drawingml/2006/table">
            <a:tbl>
              <a:tblPr/>
              <a:tblGrid>
                <a:gridCol w="606873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026510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3961035524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1135246012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3845459543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295103952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3811364939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1753182858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1603802140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840511002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2907748382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2884734784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2411749291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3007398168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680571705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2384730410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3687802900"/>
                    </a:ext>
                  </a:extLst>
                </a:gridCol>
              </a:tblGrid>
              <a:tr h="38245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82639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e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91982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4-1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46439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13-2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illennial (22-3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X (39-5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omers (55-7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ddle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come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Siz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to 2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11940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to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434683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e than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319747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with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id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 Kids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0667255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out Kids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390545"/>
                  </a:ext>
                </a:extLst>
              </a:tr>
            </a:tbl>
          </a:graphicData>
        </a:graphic>
      </p:graphicFrame>
      <p:sp>
        <p:nvSpPr>
          <p:cNvPr id="20" name="Title 3">
            <a:extLst>
              <a:ext uri="{FF2B5EF4-FFF2-40B4-BE49-F238E27FC236}">
                <a16:creationId xmlns:a16="http://schemas.microsoft.com/office/drawing/2014/main" id="{F1AC8615-CE9D-4963-B33A-92CF2FE3648D}"/>
              </a:ext>
            </a:extLst>
          </p:cNvPr>
          <p:cNvSpPr txBox="1">
            <a:spLocks/>
          </p:cNvSpPr>
          <p:nvPr/>
        </p:nvSpPr>
        <p:spPr>
          <a:xfrm>
            <a:off x="355019" y="2863245"/>
            <a:ext cx="3256803" cy="100609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Demographic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FEBF0031-740E-4D35-BCF9-97781149E841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9EEC655A-4A2E-4493-B03E-1F333124A3EA}"/>
              </a:ext>
            </a:extLst>
          </p:cNvPr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294355801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9757538"/>
              </p:ext>
            </p:extLst>
          </p:nvPr>
        </p:nvGraphicFramePr>
        <p:xfrm>
          <a:off x="3412703" y="522751"/>
          <a:ext cx="8710471" cy="6864204"/>
        </p:xfrm>
        <a:graphic>
          <a:graphicData uri="http://schemas.openxmlformats.org/drawingml/2006/table">
            <a:tbl>
              <a:tblPr/>
              <a:tblGrid>
                <a:gridCol w="606873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026510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3961035524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1135246012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3845459543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295103952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3811364939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1753182858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1603802140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840511002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2907748382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2884734784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2411749291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3007398168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680571705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2384730410"/>
                    </a:ext>
                  </a:extLst>
                </a:gridCol>
                <a:gridCol w="442318">
                  <a:extLst>
                    <a:ext uri="{9D8B030D-6E8A-4147-A177-3AD203B41FA5}">
                      <a16:colId xmlns:a16="http://schemas.microsoft.com/office/drawing/2014/main" val="3687802900"/>
                    </a:ext>
                  </a:extLst>
                </a:gridCol>
              </a:tblGrid>
              <a:tr h="38245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Snack</a:t>
                      </a:r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 Work/ 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82639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9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20 (Pre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20 (During-COVID19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e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91982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4-1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46439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13-2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illennial (22-3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X (39-5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omers (55-7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ddle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come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Siz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to 2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11940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to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434683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e than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319747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with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id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 Kids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0667255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out Kids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390545"/>
                  </a:ext>
                </a:extLst>
              </a:tr>
            </a:tbl>
          </a:graphicData>
        </a:graphic>
      </p:graphicFrame>
      <p:sp>
        <p:nvSpPr>
          <p:cNvPr id="20" name="Title 3">
            <a:extLst>
              <a:ext uri="{FF2B5EF4-FFF2-40B4-BE49-F238E27FC236}">
                <a16:creationId xmlns:a16="http://schemas.microsoft.com/office/drawing/2014/main" id="{F1AC8615-CE9D-4963-B33A-92CF2FE3648D}"/>
              </a:ext>
            </a:extLst>
          </p:cNvPr>
          <p:cNvSpPr txBox="1">
            <a:spLocks/>
          </p:cNvSpPr>
          <p:nvPr/>
        </p:nvSpPr>
        <p:spPr>
          <a:xfrm>
            <a:off x="355019" y="2863245"/>
            <a:ext cx="3256803" cy="100609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000" dirty="0">
                <a:cs typeface="Arial"/>
              </a:rPr>
              <a:t>Demographic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  <a:cs typeface="Arial"/>
              </a:rPr>
              <a:t>Share of Occasions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FEBF0031-740E-4D35-BCF9-97781149E841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9EEC655A-4A2E-4493-B03E-1F333124A3EA}"/>
              </a:ext>
            </a:extLst>
          </p:cNvPr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0949455" y="48335"/>
            <a:ext cx="1173719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Quarter-Over-Quarter</a:t>
            </a:r>
          </a:p>
        </p:txBody>
      </p:sp>
    </p:spTree>
    <p:extLst>
      <p:ext uri="{BB962C8B-B14F-4D97-AF65-F5344CB8AC3E}">
        <p14:creationId xmlns:p14="http://schemas.microsoft.com/office/powerpoint/2010/main" val="263896540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187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3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 panose="020B0606030402020204" pitchFamily="34" charset="0"/>
              <a:ea typeface="+mj-ea"/>
              <a:cs typeface="Arial" panose="020B0604020202020204" pitchFamily="34" charset="0"/>
              <a:sym typeface="Franklin Gothic Medium Cond" panose="020B0606030402020204" pitchFamily="34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11710672" y="6532931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746234" y="2779078"/>
            <a:ext cx="10308861" cy="822960"/>
          </a:xfrm>
        </p:spPr>
        <p:txBody>
          <a:bodyPr anchor="ctr">
            <a:normAutofit fontScale="90000"/>
          </a:bodyPr>
          <a:lstStyle/>
          <a:p>
            <a:r>
              <a:rPr lang="en-US" dirty="0"/>
              <a:t>YEAR-OVER-YEAR </a:t>
            </a:r>
            <a:br>
              <a:rPr lang="en-US" dirty="0"/>
            </a:br>
            <a:r>
              <a:rPr lang="en-US" sz="4000" dirty="0"/>
              <a:t>SUPPORTING DATA</a:t>
            </a:r>
          </a:p>
        </p:txBody>
      </p:sp>
    </p:spTree>
    <p:extLst>
      <p:ext uri="{BB962C8B-B14F-4D97-AF65-F5344CB8AC3E}">
        <p14:creationId xmlns:p14="http://schemas.microsoft.com/office/powerpoint/2010/main" val="3288614771"/>
      </p:ext>
    </p:extLst>
  </p:cSld>
  <p:clrMapOvr>
    <a:masterClrMapping/>
  </p:clrMapOvr>
  <p:transition/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6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4" y="2779078"/>
            <a:ext cx="9851661" cy="1595698"/>
          </a:xfrm>
        </p:spPr>
        <p:txBody>
          <a:bodyPr anchor="ctr">
            <a:normAutofit/>
          </a:bodyPr>
          <a:lstStyle/>
          <a:p>
            <a:r>
              <a:rPr lang="en-US" dirty="0"/>
              <a:t>Breakfast Occas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5BEAF3-2364-4EFA-984F-FCC95B367E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58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82075"/>
      </p:ext>
    </p:extLst>
  </p:cSld>
  <p:clrMapOvr>
    <a:masterClrMapping/>
  </p:clrMapOvr>
  <p:transition/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1452223"/>
              </p:ext>
            </p:extLst>
          </p:nvPr>
        </p:nvGraphicFramePr>
        <p:xfrm>
          <a:off x="3566952" y="719165"/>
          <a:ext cx="8558485" cy="5554073"/>
        </p:xfrm>
        <a:graphic>
          <a:graphicData uri="http://schemas.openxmlformats.org/drawingml/2006/table">
            <a:tbl>
              <a:tblPr/>
              <a:tblGrid>
                <a:gridCol w="274290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079838956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528222587"/>
                    </a:ext>
                  </a:extLst>
                </a:gridCol>
              </a:tblGrid>
              <a:tr h="5269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reakfast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For On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5372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936946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repared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5707077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ozen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27919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er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61508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d/Bake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46839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ogurt/Chee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5585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uits and Vegg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840322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alty/Savory Snac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10500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s/See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43244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rack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421343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ok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9337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ars/Bi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69794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s/Can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98751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essert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130504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 Baked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67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ain Meal Foo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39624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ritional Drinks/Smooth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361220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vera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2223951"/>
                  </a:ext>
                </a:extLst>
              </a:tr>
            </a:tbl>
          </a:graphicData>
        </a:graphic>
      </p:graphicFrame>
      <p:sp>
        <p:nvSpPr>
          <p:cNvPr id="16" name="Title 9"/>
          <p:cNvSpPr txBox="1">
            <a:spLocks/>
          </p:cNvSpPr>
          <p:nvPr/>
        </p:nvSpPr>
        <p:spPr>
          <a:xfrm>
            <a:off x="127893" y="98044"/>
            <a:ext cx="7864660" cy="43383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B1348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8" name="Title 3"/>
          <p:cNvSpPr txBox="1">
            <a:spLocks/>
          </p:cNvSpPr>
          <p:nvPr/>
        </p:nvSpPr>
        <p:spPr>
          <a:xfrm>
            <a:off x="565389" y="1810002"/>
            <a:ext cx="320194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Category 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32339" y="48336"/>
            <a:ext cx="114486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Breakfast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56A95ECD-1D7C-412E-B267-EBD3DFA1B04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13996454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661" y="121420"/>
            <a:ext cx="11583312" cy="1515954"/>
          </a:xfrm>
        </p:spPr>
        <p:txBody>
          <a:bodyPr>
            <a:normAutofit/>
          </a:bodyPr>
          <a:lstStyle/>
          <a:p>
            <a:pPr lvl="0" defTabSz="701368">
              <a:defRPr/>
            </a:pPr>
            <a:r>
              <a:rPr lang="en-US" b="1" dirty="0"/>
              <a:t>Eating Occasions Unlock Retailer Execution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0" y="1905000"/>
            <a:ext cx="12192000" cy="3048000"/>
            <a:chOff x="0" y="1752600"/>
            <a:chExt cx="12192000" cy="3048000"/>
          </a:xfrm>
        </p:grpSpPr>
        <p:sp>
          <p:nvSpPr>
            <p:cNvPr id="13" name="Title 1"/>
            <p:cNvSpPr txBox="1">
              <a:spLocks/>
            </p:cNvSpPr>
            <p:nvPr/>
          </p:nvSpPr>
          <p:spPr>
            <a:xfrm>
              <a:off x="0" y="1752600"/>
              <a:ext cx="7903403" cy="3048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vert="horz" wrap="square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kern="1200">
                  <a:solidFill>
                    <a:srgbClr val="DB1348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0" y="1818326"/>
              <a:ext cx="7903403" cy="2916548"/>
            </a:xfrm>
            <a:prstGeom prst="rect">
              <a:avLst/>
            </a:prstGeom>
          </p:spPr>
          <p:txBody>
            <a:bodyPr wrap="square" lIns="145143" tIns="72571" rIns="145143" bIns="72571">
              <a:spAutoFit/>
            </a:bodyPr>
            <a:lstStyle/>
            <a:p>
              <a:pPr marL="338289" marR="0" lvl="1" indent="-338289" algn="l" defTabSz="10885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 Cond"/>
                  <a:ea typeface="+mn-ea"/>
                  <a:cs typeface="+mn-cs"/>
                </a:rPr>
                <a:t>Building customer plans to maximize sales within priority occasions</a:t>
              </a:r>
            </a:p>
            <a:p>
              <a:pPr marL="338289" marR="0" lvl="1" indent="-338289" algn="l" defTabSz="10885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 Cond"/>
                  <a:ea typeface="+mn-ea"/>
                  <a:cs typeface="+mn-cs"/>
                </a:rPr>
                <a:t>Enabling Sales teams to drive shopper programs with focused occasion messaging</a:t>
              </a:r>
            </a:p>
            <a:p>
              <a:pPr marL="338289" marR="0" lvl="1" indent="-338289" algn="l" defTabSz="10885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 Cond"/>
                  <a:ea typeface="+mn-ea"/>
                  <a:cs typeface="+mn-cs"/>
                </a:rPr>
                <a:t>Co-promoting with adjacent categories (fruit or dairy for cereal, beer and soft drinks for salty snacks)</a:t>
              </a:r>
            </a:p>
            <a:p>
              <a:pPr marL="338289" marR="0" lvl="1" indent="-338289" algn="l" defTabSz="10885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 Cond"/>
                  <a:ea typeface="+mn-ea"/>
                  <a:cs typeface="+mn-cs"/>
                </a:rPr>
                <a:t>Targeting points of interruption to convert users of competing categories</a:t>
              </a:r>
            </a:p>
            <a:p>
              <a:pPr marL="338289" marR="0" lvl="1" indent="-338289" algn="l" defTabSz="10885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anklin Gothic Medium Cond"/>
                  <a:ea typeface="+mn-ea"/>
                  <a:cs typeface="+mn-cs"/>
                </a:rPr>
                <a:t>Building retailer access to new growth opportunities based on flawless execution in main aisle</a:t>
              </a:r>
            </a:p>
          </p:txBody>
        </p:sp>
        <p:pic>
          <p:nvPicPr>
            <p:cNvPr id="4098" name="Picture 2" descr="Related image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903403" y="1752600"/>
              <a:ext cx="4288597" cy="304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47BCA5-16D1-4145-B0E5-E4B4F99711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20630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767026"/>
              </p:ext>
            </p:extLst>
          </p:nvPr>
        </p:nvGraphicFramePr>
        <p:xfrm>
          <a:off x="3581400" y="732326"/>
          <a:ext cx="5959233" cy="5554073"/>
        </p:xfrm>
        <a:graphic>
          <a:graphicData uri="http://schemas.openxmlformats.org/drawingml/2006/table">
            <a:tbl>
              <a:tblPr/>
              <a:tblGrid>
                <a:gridCol w="305144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079838956"/>
                    </a:ext>
                  </a:extLst>
                </a:gridCol>
              </a:tblGrid>
              <a:tr h="5269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reakfast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@ Work/Sch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5372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936946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repared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5707077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ozen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27919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er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61508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d/Bake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46839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ogurt/Chee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5585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uits and Vegg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840322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alty/Savory Snac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10500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s/See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43244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rack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421343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ok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9337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ars/Bi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69794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s/Can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98751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essert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130504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 Baked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67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ain Meal Foo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39624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ritional Drinks/Smooth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361220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vera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2223951"/>
                  </a:ext>
                </a:extLst>
              </a:tr>
            </a:tbl>
          </a:graphicData>
        </a:graphic>
      </p:graphicFrame>
      <p:sp>
        <p:nvSpPr>
          <p:cNvPr id="16" name="Title 9"/>
          <p:cNvSpPr txBox="1">
            <a:spLocks/>
          </p:cNvSpPr>
          <p:nvPr/>
        </p:nvSpPr>
        <p:spPr>
          <a:xfrm>
            <a:off x="127893" y="98044"/>
            <a:ext cx="7864660" cy="43383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B1348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8" name="Title 3"/>
          <p:cNvSpPr txBox="1">
            <a:spLocks/>
          </p:cNvSpPr>
          <p:nvPr/>
        </p:nvSpPr>
        <p:spPr>
          <a:xfrm>
            <a:off x="565389" y="1810002"/>
            <a:ext cx="320194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Category 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32339" y="48336"/>
            <a:ext cx="114486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Breakfast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56A95ECD-1D7C-412E-B267-EBD3DFA1B04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367293025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3073196"/>
              </p:ext>
            </p:extLst>
          </p:nvPr>
        </p:nvGraphicFramePr>
        <p:xfrm>
          <a:off x="3810000" y="1232128"/>
          <a:ext cx="8309192" cy="2190565"/>
        </p:xfrm>
        <a:graphic>
          <a:graphicData uri="http://schemas.openxmlformats.org/drawingml/2006/table">
            <a:tbl>
              <a:tblPr/>
              <a:tblGrid>
                <a:gridCol w="249360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4294716811"/>
                    </a:ext>
                  </a:extLst>
                </a:gridCol>
              </a:tblGrid>
              <a:tr h="3017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reakfast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For On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8925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 Benef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046434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427D292-ED39-4C4C-859B-C910011C3155}"/>
              </a:ext>
            </a:extLst>
          </p:cNvPr>
          <p:cNvSpPr txBox="1"/>
          <p:nvPr/>
        </p:nvSpPr>
        <p:spPr>
          <a:xfrm>
            <a:off x="32339" y="48336"/>
            <a:ext cx="114486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Breakfast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9E6895E6-DB77-420F-9312-D027527E6CF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386874465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8206497"/>
              </p:ext>
            </p:extLst>
          </p:nvPr>
        </p:nvGraphicFramePr>
        <p:xfrm>
          <a:off x="3810000" y="1219200"/>
          <a:ext cx="5509640" cy="2190565"/>
        </p:xfrm>
        <a:graphic>
          <a:graphicData uri="http://schemas.openxmlformats.org/drawingml/2006/table">
            <a:tbl>
              <a:tblPr/>
              <a:tblGrid>
                <a:gridCol w="260184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</a:tblGrid>
              <a:tr h="3017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reakfast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@ Work/Sch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8925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 Benef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046434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427D292-ED39-4C4C-859B-C910011C3155}"/>
              </a:ext>
            </a:extLst>
          </p:cNvPr>
          <p:cNvSpPr txBox="1"/>
          <p:nvPr/>
        </p:nvSpPr>
        <p:spPr>
          <a:xfrm>
            <a:off x="32339" y="48336"/>
            <a:ext cx="114486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Breakfast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9E6895E6-DB77-420F-9312-D027527E6CF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370391768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0498096"/>
              </p:ext>
            </p:extLst>
          </p:nvPr>
        </p:nvGraphicFramePr>
        <p:xfrm>
          <a:off x="3817050" y="990975"/>
          <a:ext cx="8306124" cy="5210796"/>
        </p:xfrm>
        <a:graphic>
          <a:graphicData uri="http://schemas.openxmlformats.org/drawingml/2006/table">
            <a:tbl>
              <a:tblPr/>
              <a:tblGrid>
                <a:gridCol w="2490540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76072134"/>
                    </a:ext>
                  </a:extLst>
                </a:gridCol>
              </a:tblGrid>
              <a:tr h="2855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reakfast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For On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26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a strong, intense 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simple and 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prote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fi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37116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no artificial flavors/colors/preservativ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low in salt/so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from natural ingr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with whole gra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visible 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no artificial sweete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low/no sug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fresh/freshly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higher quality / 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t is not intru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es not make a m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sy to eat with one h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47076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tailed 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C029F3-5DBB-4D81-92B9-A98A0AC45282}"/>
              </a:ext>
            </a:extLst>
          </p:cNvPr>
          <p:cNvSpPr txBox="1"/>
          <p:nvPr/>
        </p:nvSpPr>
        <p:spPr>
          <a:xfrm>
            <a:off x="32339" y="48336"/>
            <a:ext cx="114486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Breakfast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FA432D99-BB3D-403F-B45B-AF9BF2BAC1D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284752894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423193"/>
              </p:ext>
            </p:extLst>
          </p:nvPr>
        </p:nvGraphicFramePr>
        <p:xfrm>
          <a:off x="3810000" y="990975"/>
          <a:ext cx="5412476" cy="5210796"/>
        </p:xfrm>
        <a:graphic>
          <a:graphicData uri="http://schemas.openxmlformats.org/drawingml/2006/table">
            <a:tbl>
              <a:tblPr/>
              <a:tblGrid>
                <a:gridCol w="2504684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</a:tblGrid>
              <a:tr h="2855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reakfast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@ Work/Sch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26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a strong, intense 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simple and 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prote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fi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37116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no artificial flavors/colors/preservativ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low in salt/so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from natural ingr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with whole gra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visible 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no artificial sweete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low/no sug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fresh/freshly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higher quality / 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t is not intru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es not make a m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sy to eat with one h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47076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tailed 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C029F3-5DBB-4D81-92B9-A98A0AC45282}"/>
              </a:ext>
            </a:extLst>
          </p:cNvPr>
          <p:cNvSpPr txBox="1"/>
          <p:nvPr/>
        </p:nvSpPr>
        <p:spPr>
          <a:xfrm>
            <a:off x="32339" y="48336"/>
            <a:ext cx="114486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Breakfast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FA432D99-BB3D-403F-B45B-AF9BF2BAC1D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227898938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568715"/>
              </p:ext>
            </p:extLst>
          </p:nvPr>
        </p:nvGraphicFramePr>
        <p:xfrm>
          <a:off x="3815682" y="985926"/>
          <a:ext cx="8307492" cy="4727274"/>
        </p:xfrm>
        <a:graphic>
          <a:graphicData uri="http://schemas.openxmlformats.org/drawingml/2006/table">
            <a:tbl>
              <a:tblPr/>
              <a:tblGrid>
                <a:gridCol w="249190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94351350"/>
                    </a:ext>
                  </a:extLst>
                </a:gridCol>
              </a:tblGrid>
              <a:tr h="3940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reakfast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For On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161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y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utine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b &amp; G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amily Enjoy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Buy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nned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at/Reward for Me or my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ecific 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 from a multi-pack/bag/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larger/sharing/multi-serve pack/bag/box/t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37932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Shopper Mission &amp; Packaging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24518" y="5726529"/>
            <a:ext cx="77182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ackaging asked of packaged categories only, excludes categories such as fruits/veggies, sweet baked goods, main meal foods, etc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969DF1-014E-414A-B0E9-82A39D2B28A9}"/>
              </a:ext>
            </a:extLst>
          </p:cNvPr>
          <p:cNvSpPr txBox="1"/>
          <p:nvPr/>
        </p:nvSpPr>
        <p:spPr>
          <a:xfrm>
            <a:off x="32339" y="48336"/>
            <a:ext cx="114486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Breakfast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DE7CF71-030F-40AF-AF00-B94D3E682DD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3" name="NA">
            <a:extLst>
              <a:ext uri="{FF2B5EF4-FFF2-40B4-BE49-F238E27FC236}">
                <a16:creationId xmlns:a16="http://schemas.microsoft.com/office/drawing/2014/main" id="{F7482171-FACA-477D-930F-DED96D2E5288}"/>
              </a:ext>
            </a:extLst>
          </p:cNvPr>
          <p:cNvSpPr txBox="1"/>
          <p:nvPr/>
        </p:nvSpPr>
        <p:spPr>
          <a:xfrm>
            <a:off x="6256114" y="2703444"/>
            <a:ext cx="39756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                  Not Applicable</a:t>
            </a:r>
          </a:p>
        </p:txBody>
      </p:sp>
    </p:spTree>
    <p:extLst>
      <p:ext uri="{BB962C8B-B14F-4D97-AF65-F5344CB8AC3E}">
        <p14:creationId xmlns:p14="http://schemas.microsoft.com/office/powerpoint/2010/main" val="111425668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8445960"/>
              </p:ext>
            </p:extLst>
          </p:nvPr>
        </p:nvGraphicFramePr>
        <p:xfrm>
          <a:off x="3810000" y="985926"/>
          <a:ext cx="5423363" cy="4727274"/>
        </p:xfrm>
        <a:graphic>
          <a:graphicData uri="http://schemas.openxmlformats.org/drawingml/2006/table">
            <a:tbl>
              <a:tblPr/>
              <a:tblGrid>
                <a:gridCol w="251557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</a:tblGrid>
              <a:tr h="3940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reakfast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@ Work/Sch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161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y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utine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b &amp; G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amily Enjoy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Buy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nned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at/Reward for Me or my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ecific 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 from a multi-pack/bag/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larger/sharing/multi-serve pack/bag/box/t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37932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Shopper Mission &amp; Packaging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18837" y="5717385"/>
            <a:ext cx="50142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ackaging asked of packaged categories only, excludes categories such as fruits/veggies, sweet baked goods, main meal foods, etc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969DF1-014E-414A-B0E9-82A39D2B28A9}"/>
              </a:ext>
            </a:extLst>
          </p:cNvPr>
          <p:cNvSpPr txBox="1"/>
          <p:nvPr/>
        </p:nvSpPr>
        <p:spPr>
          <a:xfrm>
            <a:off x="32339" y="48336"/>
            <a:ext cx="114486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Breakfast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DE7CF71-030F-40AF-AF00-B94D3E682DD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4" name="NA">
            <a:extLst>
              <a:ext uri="{FF2B5EF4-FFF2-40B4-BE49-F238E27FC236}">
                <a16:creationId xmlns:a16="http://schemas.microsoft.com/office/drawing/2014/main" id="{099FF721-D6FF-46B0-983E-D56EF73A48D7}"/>
              </a:ext>
            </a:extLst>
          </p:cNvPr>
          <p:cNvSpPr txBox="1"/>
          <p:nvPr/>
        </p:nvSpPr>
        <p:spPr>
          <a:xfrm>
            <a:off x="5257711" y="2887898"/>
            <a:ext cx="39756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                  Not Applicable</a:t>
            </a:r>
          </a:p>
        </p:txBody>
      </p:sp>
    </p:spTree>
    <p:extLst>
      <p:ext uri="{BB962C8B-B14F-4D97-AF65-F5344CB8AC3E}">
        <p14:creationId xmlns:p14="http://schemas.microsoft.com/office/powerpoint/2010/main" val="289831986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8177311"/>
              </p:ext>
            </p:extLst>
          </p:nvPr>
        </p:nvGraphicFramePr>
        <p:xfrm>
          <a:off x="3810000" y="988158"/>
          <a:ext cx="8055759" cy="4970712"/>
        </p:xfrm>
        <a:graphic>
          <a:graphicData uri="http://schemas.openxmlformats.org/drawingml/2006/table">
            <a:tbl>
              <a:tblPr/>
              <a:tblGrid>
                <a:gridCol w="100573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234440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0000498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277402203"/>
                    </a:ext>
                  </a:extLst>
                </a:gridCol>
              </a:tblGrid>
              <a:tr h="55172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reakfast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For On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2758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e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Home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0475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o Wi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Oth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04753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al Ti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eas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ven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ur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018931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z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163499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ype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Consumptio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208035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ntane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78988"/>
                  </a:ext>
                </a:extLst>
              </a:tr>
            </a:tbl>
          </a:graphicData>
        </a:graphic>
      </p:graphicFrame>
      <p:sp>
        <p:nvSpPr>
          <p:cNvPr id="16" name="Title 3"/>
          <p:cNvSpPr txBox="1">
            <a:spLocks/>
          </p:cNvSpPr>
          <p:nvPr/>
        </p:nvSpPr>
        <p:spPr>
          <a:xfrm>
            <a:off x="565389" y="1810002"/>
            <a:ext cx="304643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5W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8AB921-0033-4DDF-AE09-1E4E489048C9}"/>
              </a:ext>
            </a:extLst>
          </p:cNvPr>
          <p:cNvSpPr txBox="1"/>
          <p:nvPr/>
        </p:nvSpPr>
        <p:spPr>
          <a:xfrm>
            <a:off x="32339" y="48336"/>
            <a:ext cx="114486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Breakfast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35017A4-1930-4661-B8E1-DD04AD0568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156160112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0745617"/>
              </p:ext>
            </p:extLst>
          </p:nvPr>
        </p:nvGraphicFramePr>
        <p:xfrm>
          <a:off x="3152274" y="943644"/>
          <a:ext cx="5027479" cy="4970712"/>
        </p:xfrm>
        <a:graphic>
          <a:graphicData uri="http://schemas.openxmlformats.org/drawingml/2006/table">
            <a:tbl>
              <a:tblPr/>
              <a:tblGrid>
                <a:gridCol w="906379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213308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00004983"/>
                    </a:ext>
                  </a:extLst>
                </a:gridCol>
              </a:tblGrid>
              <a:tr h="55172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reakfast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@ Work/Sch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2758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e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Home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0475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o Wi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Oth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04753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al Ti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eas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ven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ur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018931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z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163499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ype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Consumptio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208035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ntane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78988"/>
                  </a:ext>
                </a:extLst>
              </a:tr>
            </a:tbl>
          </a:graphicData>
        </a:graphic>
      </p:graphicFrame>
      <p:sp>
        <p:nvSpPr>
          <p:cNvPr id="16" name="Title 3"/>
          <p:cNvSpPr txBox="1">
            <a:spLocks/>
          </p:cNvSpPr>
          <p:nvPr/>
        </p:nvSpPr>
        <p:spPr>
          <a:xfrm>
            <a:off x="565389" y="1810002"/>
            <a:ext cx="304643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5W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8AB921-0033-4DDF-AE09-1E4E489048C9}"/>
              </a:ext>
            </a:extLst>
          </p:cNvPr>
          <p:cNvSpPr txBox="1"/>
          <p:nvPr/>
        </p:nvSpPr>
        <p:spPr>
          <a:xfrm>
            <a:off x="32339" y="48336"/>
            <a:ext cx="114486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Breakfast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35017A4-1930-4661-B8E1-DD04AD0568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359084731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7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051940"/>
              </p:ext>
            </p:extLst>
          </p:nvPr>
        </p:nvGraphicFramePr>
        <p:xfrm>
          <a:off x="3539027" y="1022299"/>
          <a:ext cx="8301733" cy="5219387"/>
        </p:xfrm>
        <a:graphic>
          <a:graphicData uri="http://schemas.openxmlformats.org/drawingml/2006/table">
            <a:tbl>
              <a:tblPr/>
              <a:tblGrid>
                <a:gridCol w="775730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710419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038021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84051100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19963428"/>
                    </a:ext>
                  </a:extLst>
                </a:gridCol>
              </a:tblGrid>
              <a:tr h="38245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reakfast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For On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Family Breakf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82639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e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91982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4-1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46439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13-2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illennial (22-3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X (39-5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omers (55-7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ddle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c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Siz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to 2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11940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to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434683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e than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319747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with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id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0667255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out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390545"/>
                  </a:ext>
                </a:extLst>
              </a:tr>
            </a:tbl>
          </a:graphicData>
        </a:graphic>
      </p:graphicFrame>
      <p:sp>
        <p:nvSpPr>
          <p:cNvPr id="18" name="Title 3"/>
          <p:cNvSpPr txBox="1">
            <a:spLocks/>
          </p:cNvSpPr>
          <p:nvPr/>
        </p:nvSpPr>
        <p:spPr>
          <a:xfrm>
            <a:off x="565388" y="1810002"/>
            <a:ext cx="347626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mographics</a:t>
            </a:r>
          </a:p>
          <a:p>
            <a:pPr lvl="0"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0A4A8A-8A41-49C0-AB9B-AA54747DEC97}"/>
              </a:ext>
            </a:extLst>
          </p:cNvPr>
          <p:cNvSpPr txBox="1"/>
          <p:nvPr/>
        </p:nvSpPr>
        <p:spPr>
          <a:xfrm>
            <a:off x="32339" y="61984"/>
            <a:ext cx="114486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Breakfast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82BCF0CB-CBAD-4F90-86A6-4EECF7D532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26171642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his is a Big Change with a Big Path to Growth!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93370" y="2138865"/>
            <a:ext cx="6202680" cy="3886579"/>
            <a:chOff x="232448" y="1593806"/>
            <a:chExt cx="7562849" cy="4746364"/>
          </a:xfrm>
        </p:grpSpPr>
        <p:sp>
          <p:nvSpPr>
            <p:cNvPr id="4" name="Freeform 3"/>
            <p:cNvSpPr/>
            <p:nvPr/>
          </p:nvSpPr>
          <p:spPr>
            <a:xfrm>
              <a:off x="232448" y="1593806"/>
              <a:ext cx="2363390" cy="1418034"/>
            </a:xfrm>
            <a:custGeom>
              <a:avLst/>
              <a:gdLst>
                <a:gd name="connsiteX0" fmla="*/ 0 w 2363390"/>
                <a:gd name="connsiteY0" fmla="*/ 0 h 1418034"/>
                <a:gd name="connsiteX1" fmla="*/ 2363390 w 2363390"/>
                <a:gd name="connsiteY1" fmla="*/ 0 h 1418034"/>
                <a:gd name="connsiteX2" fmla="*/ 2363390 w 2363390"/>
                <a:gd name="connsiteY2" fmla="*/ 1418034 h 1418034"/>
                <a:gd name="connsiteX3" fmla="*/ 0 w 2363390"/>
                <a:gd name="connsiteY3" fmla="*/ 1418034 h 1418034"/>
                <a:gd name="connsiteX4" fmla="*/ 0 w 2363390"/>
                <a:gd name="connsiteY4" fmla="*/ 0 h 141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3390" h="1418034">
                  <a:moveTo>
                    <a:pt x="0" y="0"/>
                  </a:moveTo>
                  <a:lnTo>
                    <a:pt x="2363390" y="0"/>
                  </a:lnTo>
                  <a:lnTo>
                    <a:pt x="2363390" y="1418034"/>
                  </a:lnTo>
                  <a:lnTo>
                    <a:pt x="0" y="14180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/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lock </a:t>
              </a:r>
              <a:r>
                <a:rPr kumimoji="0" lang="en-US" sz="1400" b="1" i="0" u="none" strike="noStrike" kern="1200" cap="none" spc="0" normalizeH="0" baseline="0" noProof="0" dirty="0">
                  <a:ln/>
                  <a:solidFill>
                    <a:srgbClr val="DB134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rame of reference </a:t>
              </a:r>
              <a:r>
                <a:rPr kumimoji="0" lang="en-US" sz="1400" b="1" i="0" u="none" strike="noStrike" kern="1200" cap="none" spc="0" normalizeH="0" baseline="0" noProof="0" dirty="0">
                  <a:ln/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pportunitie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Freeform 4"/>
            <p:cNvSpPr/>
            <p:nvPr/>
          </p:nvSpPr>
          <p:spPr>
            <a:xfrm>
              <a:off x="2832177" y="1593806"/>
              <a:ext cx="2363390" cy="1418034"/>
            </a:xfrm>
            <a:custGeom>
              <a:avLst/>
              <a:gdLst>
                <a:gd name="connsiteX0" fmla="*/ 0 w 2363390"/>
                <a:gd name="connsiteY0" fmla="*/ 0 h 1418034"/>
                <a:gd name="connsiteX1" fmla="*/ 2363390 w 2363390"/>
                <a:gd name="connsiteY1" fmla="*/ 0 h 1418034"/>
                <a:gd name="connsiteX2" fmla="*/ 2363390 w 2363390"/>
                <a:gd name="connsiteY2" fmla="*/ 1418034 h 1418034"/>
                <a:gd name="connsiteX3" fmla="*/ 0 w 2363390"/>
                <a:gd name="connsiteY3" fmla="*/ 1418034 h 1418034"/>
                <a:gd name="connsiteX4" fmla="*/ 0 w 2363390"/>
                <a:gd name="connsiteY4" fmla="*/ 0 h 141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3390" h="1418034">
                  <a:moveTo>
                    <a:pt x="0" y="0"/>
                  </a:moveTo>
                  <a:lnTo>
                    <a:pt x="2363390" y="0"/>
                  </a:lnTo>
                  <a:lnTo>
                    <a:pt x="2363390" y="1418034"/>
                  </a:lnTo>
                  <a:lnTo>
                    <a:pt x="0" y="14180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fy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DB134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tegory and brand growth opportunities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y occasion</a:t>
              </a:r>
            </a:p>
          </p:txBody>
        </p:sp>
        <p:sp>
          <p:nvSpPr>
            <p:cNvPr id="6" name="Freeform 5"/>
            <p:cNvSpPr/>
            <p:nvPr/>
          </p:nvSpPr>
          <p:spPr>
            <a:xfrm>
              <a:off x="5431907" y="1593806"/>
              <a:ext cx="2363390" cy="1418034"/>
            </a:xfrm>
            <a:custGeom>
              <a:avLst/>
              <a:gdLst>
                <a:gd name="connsiteX0" fmla="*/ 0 w 2363390"/>
                <a:gd name="connsiteY0" fmla="*/ 0 h 1418034"/>
                <a:gd name="connsiteX1" fmla="*/ 2363390 w 2363390"/>
                <a:gd name="connsiteY1" fmla="*/ 0 h 1418034"/>
                <a:gd name="connsiteX2" fmla="*/ 2363390 w 2363390"/>
                <a:gd name="connsiteY2" fmla="*/ 1418034 h 1418034"/>
                <a:gd name="connsiteX3" fmla="*/ 0 w 2363390"/>
                <a:gd name="connsiteY3" fmla="*/ 1418034 h 1418034"/>
                <a:gd name="connsiteX4" fmla="*/ 0 w 2363390"/>
                <a:gd name="connsiteY4" fmla="*/ 0 h 141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3390" h="1418034">
                  <a:moveTo>
                    <a:pt x="0" y="0"/>
                  </a:moveTo>
                  <a:lnTo>
                    <a:pt x="2363390" y="0"/>
                  </a:lnTo>
                  <a:lnTo>
                    <a:pt x="2363390" y="1418034"/>
                  </a:lnTo>
                  <a:lnTo>
                    <a:pt x="0" y="14180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fy expanded set of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DB134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tail Environments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led by occasion context</a:t>
              </a:r>
            </a:p>
          </p:txBody>
        </p:sp>
        <p:sp>
          <p:nvSpPr>
            <p:cNvPr id="14" name="Freeform 13"/>
            <p:cNvSpPr/>
            <p:nvPr/>
          </p:nvSpPr>
          <p:spPr>
            <a:xfrm>
              <a:off x="232448" y="3248179"/>
              <a:ext cx="2363390" cy="1418034"/>
            </a:xfrm>
            <a:custGeom>
              <a:avLst/>
              <a:gdLst>
                <a:gd name="connsiteX0" fmla="*/ 0 w 2363390"/>
                <a:gd name="connsiteY0" fmla="*/ 0 h 1418034"/>
                <a:gd name="connsiteX1" fmla="*/ 2363390 w 2363390"/>
                <a:gd name="connsiteY1" fmla="*/ 0 h 1418034"/>
                <a:gd name="connsiteX2" fmla="*/ 2363390 w 2363390"/>
                <a:gd name="connsiteY2" fmla="*/ 1418034 h 1418034"/>
                <a:gd name="connsiteX3" fmla="*/ 0 w 2363390"/>
                <a:gd name="connsiteY3" fmla="*/ 1418034 h 1418034"/>
                <a:gd name="connsiteX4" fmla="*/ 0 w 2363390"/>
                <a:gd name="connsiteY4" fmla="*/ 0 h 141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3390" h="1418034">
                  <a:moveTo>
                    <a:pt x="0" y="0"/>
                  </a:moveTo>
                  <a:lnTo>
                    <a:pt x="2363390" y="0"/>
                  </a:lnTo>
                  <a:lnTo>
                    <a:pt x="2363390" y="1418034"/>
                  </a:lnTo>
                  <a:lnTo>
                    <a:pt x="0" y="14180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/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lock opportunities for </a:t>
              </a:r>
              <a:r>
                <a:rPr kumimoji="0" lang="en-US" sz="1400" b="1" i="0" u="none" strike="noStrike" kern="1200" cap="none" spc="0" normalizeH="0" baseline="0" noProof="0" dirty="0">
                  <a:ln/>
                  <a:solidFill>
                    <a:srgbClr val="DB134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stomer execution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B134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>
              <a:off x="2832177" y="3248179"/>
              <a:ext cx="2363390" cy="1418034"/>
            </a:xfrm>
            <a:custGeom>
              <a:avLst/>
              <a:gdLst>
                <a:gd name="connsiteX0" fmla="*/ 0 w 2363390"/>
                <a:gd name="connsiteY0" fmla="*/ 0 h 1418034"/>
                <a:gd name="connsiteX1" fmla="*/ 2363390 w 2363390"/>
                <a:gd name="connsiteY1" fmla="*/ 0 h 1418034"/>
                <a:gd name="connsiteX2" fmla="*/ 2363390 w 2363390"/>
                <a:gd name="connsiteY2" fmla="*/ 1418034 h 1418034"/>
                <a:gd name="connsiteX3" fmla="*/ 0 w 2363390"/>
                <a:gd name="connsiteY3" fmla="*/ 1418034 h 1418034"/>
                <a:gd name="connsiteX4" fmla="*/ 0 w 2363390"/>
                <a:gd name="connsiteY4" fmla="*/ 0 h 141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3390" h="1418034">
                  <a:moveTo>
                    <a:pt x="0" y="0"/>
                  </a:moveTo>
                  <a:lnTo>
                    <a:pt x="2363390" y="0"/>
                  </a:lnTo>
                  <a:lnTo>
                    <a:pt x="2363390" y="1418034"/>
                  </a:lnTo>
                  <a:lnTo>
                    <a:pt x="0" y="14180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el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DB134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GM 2.0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 order to execute Occasion, Brand, Price, Pack, Channel architecture</a:t>
              </a:r>
            </a:p>
          </p:txBody>
        </p:sp>
        <p:sp>
          <p:nvSpPr>
            <p:cNvPr id="16" name="Freeform 15"/>
            <p:cNvSpPr/>
            <p:nvPr/>
          </p:nvSpPr>
          <p:spPr>
            <a:xfrm>
              <a:off x="5431907" y="3248179"/>
              <a:ext cx="2363390" cy="1418034"/>
            </a:xfrm>
            <a:custGeom>
              <a:avLst/>
              <a:gdLst>
                <a:gd name="connsiteX0" fmla="*/ 0 w 2363390"/>
                <a:gd name="connsiteY0" fmla="*/ 0 h 1418034"/>
                <a:gd name="connsiteX1" fmla="*/ 2363390 w 2363390"/>
                <a:gd name="connsiteY1" fmla="*/ 0 h 1418034"/>
                <a:gd name="connsiteX2" fmla="*/ 2363390 w 2363390"/>
                <a:gd name="connsiteY2" fmla="*/ 1418034 h 1418034"/>
                <a:gd name="connsiteX3" fmla="*/ 0 w 2363390"/>
                <a:gd name="connsiteY3" fmla="*/ 1418034 h 1418034"/>
                <a:gd name="connsiteX4" fmla="*/ 0 w 2363390"/>
                <a:gd name="connsiteY4" fmla="*/ 0 h 141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3390" h="1418034">
                  <a:moveTo>
                    <a:pt x="0" y="0"/>
                  </a:moveTo>
                  <a:lnTo>
                    <a:pt x="2363390" y="0"/>
                  </a:lnTo>
                  <a:lnTo>
                    <a:pt x="2363390" y="1418034"/>
                  </a:lnTo>
                  <a:lnTo>
                    <a:pt x="0" y="14180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/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ty opportunities for </a:t>
              </a:r>
              <a:r>
                <a:rPr kumimoji="0" lang="en-US" sz="1400" b="1" i="0" u="none" strike="noStrike" kern="1200" cap="none" spc="0" normalizeH="0" baseline="0" noProof="0" dirty="0">
                  <a:ln/>
                  <a:solidFill>
                    <a:srgbClr val="DB134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hopper engagement</a:t>
              </a:r>
              <a:r>
                <a:rPr kumimoji="0" lang="en-US" sz="1400" b="1" i="0" u="none" strike="noStrike" kern="1200" cap="none" spc="0" normalizeH="0" baseline="0" noProof="0" dirty="0">
                  <a:ln/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built into PO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>
              <a:off x="1532312" y="4902553"/>
              <a:ext cx="2363390" cy="1418034"/>
            </a:xfrm>
            <a:custGeom>
              <a:avLst/>
              <a:gdLst>
                <a:gd name="connsiteX0" fmla="*/ 0 w 2363390"/>
                <a:gd name="connsiteY0" fmla="*/ 0 h 1418034"/>
                <a:gd name="connsiteX1" fmla="*/ 2363390 w 2363390"/>
                <a:gd name="connsiteY1" fmla="*/ 0 h 1418034"/>
                <a:gd name="connsiteX2" fmla="*/ 2363390 w 2363390"/>
                <a:gd name="connsiteY2" fmla="*/ 1418034 h 1418034"/>
                <a:gd name="connsiteX3" fmla="*/ 0 w 2363390"/>
                <a:gd name="connsiteY3" fmla="*/ 1418034 h 1418034"/>
                <a:gd name="connsiteX4" fmla="*/ 0 w 2363390"/>
                <a:gd name="connsiteY4" fmla="*/ 0 h 141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3390" h="1418034">
                  <a:moveTo>
                    <a:pt x="0" y="0"/>
                  </a:moveTo>
                  <a:lnTo>
                    <a:pt x="2363390" y="0"/>
                  </a:lnTo>
                  <a:lnTo>
                    <a:pt x="2363390" y="1418034"/>
                  </a:lnTo>
                  <a:lnTo>
                    <a:pt x="0" y="14180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ablish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DB134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rformance metrics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ithin occasion</a:t>
              </a:r>
            </a:p>
          </p:txBody>
        </p:sp>
        <p:sp>
          <p:nvSpPr>
            <p:cNvPr id="18" name="Freeform 17"/>
            <p:cNvSpPr/>
            <p:nvPr/>
          </p:nvSpPr>
          <p:spPr>
            <a:xfrm>
              <a:off x="4083120" y="4922136"/>
              <a:ext cx="2363390" cy="1418034"/>
            </a:xfrm>
            <a:custGeom>
              <a:avLst/>
              <a:gdLst>
                <a:gd name="connsiteX0" fmla="*/ 0 w 2363390"/>
                <a:gd name="connsiteY0" fmla="*/ 0 h 1418034"/>
                <a:gd name="connsiteX1" fmla="*/ 2363390 w 2363390"/>
                <a:gd name="connsiteY1" fmla="*/ 0 h 1418034"/>
                <a:gd name="connsiteX2" fmla="*/ 2363390 w 2363390"/>
                <a:gd name="connsiteY2" fmla="*/ 1418034 h 1418034"/>
                <a:gd name="connsiteX3" fmla="*/ 0 w 2363390"/>
                <a:gd name="connsiteY3" fmla="*/ 1418034 h 1418034"/>
                <a:gd name="connsiteX4" fmla="*/ 0 w 2363390"/>
                <a:gd name="connsiteY4" fmla="*/ 0 h 141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3390" h="1418034">
                  <a:moveTo>
                    <a:pt x="0" y="0"/>
                  </a:moveTo>
                  <a:lnTo>
                    <a:pt x="2363390" y="0"/>
                  </a:lnTo>
                  <a:lnTo>
                    <a:pt x="2363390" y="1418034"/>
                  </a:lnTo>
                  <a:lnTo>
                    <a:pt x="0" y="14180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nd and understand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DB134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sumer behavioral change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530163" y="239449"/>
            <a:ext cx="11217492" cy="1349902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DB1348"/>
                </a:solidFill>
                <a:effectLst/>
                <a:uLnTx/>
                <a:uFillTx/>
                <a:latin typeface="Franklin Gothic Medium Cond"/>
                <a:ea typeface="+mn-ea"/>
                <a:cs typeface="+mn-cs"/>
              </a:rPr>
              <a:t>The Kellogg's Eating Occasion Framework allows us to unlock significant growth opportunities..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08448" y="2138865"/>
            <a:ext cx="5372100" cy="3935077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6E37B63-19A2-4410-A9CA-88E12B4B4D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237749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7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2388674"/>
              </p:ext>
            </p:extLst>
          </p:nvPr>
        </p:nvGraphicFramePr>
        <p:xfrm>
          <a:off x="3810000" y="990215"/>
          <a:ext cx="4982194" cy="5354125"/>
        </p:xfrm>
        <a:graphic>
          <a:graphicData uri="http://schemas.openxmlformats.org/drawingml/2006/table">
            <a:tbl>
              <a:tblPr/>
              <a:tblGrid>
                <a:gridCol w="696346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373628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6110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6110">
                  <a:extLst>
                    <a:ext uri="{9D8B030D-6E8A-4147-A177-3AD203B41FA5}">
                      <a16:colId xmlns:a16="http://schemas.microsoft.com/office/drawing/2014/main" val="1603802140"/>
                    </a:ext>
                  </a:extLst>
                </a:gridCol>
              </a:tblGrid>
              <a:tr h="38245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reakfast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@ Work/Sch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82639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e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91982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4-1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46439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13-2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illennial (22-3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X (39-5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omers (55-7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ddle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c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Siz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to 2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11940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to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434683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e than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319747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with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id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0667255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out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390545"/>
                  </a:ext>
                </a:extLst>
              </a:tr>
            </a:tbl>
          </a:graphicData>
        </a:graphic>
      </p:graphicFrame>
      <p:sp>
        <p:nvSpPr>
          <p:cNvPr id="18" name="Title 3"/>
          <p:cNvSpPr txBox="1">
            <a:spLocks/>
          </p:cNvSpPr>
          <p:nvPr/>
        </p:nvSpPr>
        <p:spPr>
          <a:xfrm>
            <a:off x="565388" y="1810002"/>
            <a:ext cx="347626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mographics</a:t>
            </a:r>
          </a:p>
          <a:p>
            <a:pPr lvl="0"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0A4A8A-8A41-49C0-AB9B-AA54747DEC97}"/>
              </a:ext>
            </a:extLst>
          </p:cNvPr>
          <p:cNvSpPr txBox="1"/>
          <p:nvPr/>
        </p:nvSpPr>
        <p:spPr>
          <a:xfrm>
            <a:off x="32339" y="61984"/>
            <a:ext cx="114486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Breakfast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82BCF0CB-CBAD-4F90-86A6-4EECF7D532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180201651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54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4" y="2779078"/>
            <a:ext cx="9851661" cy="1595698"/>
          </a:xfrm>
        </p:spPr>
        <p:txBody>
          <a:bodyPr anchor="ctr">
            <a:normAutofit fontScale="90000"/>
          </a:bodyPr>
          <a:lstStyle/>
          <a:p>
            <a:r>
              <a:rPr lang="en-US" dirty="0"/>
              <a:t>Morning &amp; Afternoon Snacking</a:t>
            </a:r>
            <a:br>
              <a:rPr lang="en-US" dirty="0"/>
            </a:br>
            <a:r>
              <a:rPr lang="en-US" dirty="0"/>
              <a:t>Occas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2FF989-9C5B-431E-9C42-0C1056ED30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7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1562407"/>
      </p:ext>
    </p:extLst>
  </p:cSld>
  <p:clrMapOvr>
    <a:masterClrMapping/>
  </p:clrMapOvr>
  <p:transition/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8671243"/>
              </p:ext>
            </p:extLst>
          </p:nvPr>
        </p:nvGraphicFramePr>
        <p:xfrm>
          <a:off x="3566952" y="719165"/>
          <a:ext cx="8558485" cy="5554073"/>
        </p:xfrm>
        <a:graphic>
          <a:graphicData uri="http://schemas.openxmlformats.org/drawingml/2006/table">
            <a:tbl>
              <a:tblPr/>
              <a:tblGrid>
                <a:gridCol w="274290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079838956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528222587"/>
                    </a:ext>
                  </a:extLst>
                </a:gridCol>
              </a:tblGrid>
              <a:tr h="5269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5372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936946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repared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5707077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ozen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27919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er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61508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d/Bake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46839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ogurt/Chee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5585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uits and Vegg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840322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alty/Savory Snac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10500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s/See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43244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rack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421343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ok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9337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ars/Bi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69794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s/Can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98751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essert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130504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 Baked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67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ain Meal Foo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39624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ritional Drinks/Smooth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361220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vera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2223951"/>
                  </a:ext>
                </a:extLst>
              </a:tr>
            </a:tbl>
          </a:graphicData>
        </a:graphic>
      </p:graphicFrame>
      <p:sp>
        <p:nvSpPr>
          <p:cNvPr id="16" name="Title 9"/>
          <p:cNvSpPr txBox="1">
            <a:spLocks/>
          </p:cNvSpPr>
          <p:nvPr/>
        </p:nvSpPr>
        <p:spPr>
          <a:xfrm>
            <a:off x="127893" y="98044"/>
            <a:ext cx="7864660" cy="43383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B1348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8" name="Title 3"/>
          <p:cNvSpPr txBox="1">
            <a:spLocks/>
          </p:cNvSpPr>
          <p:nvPr/>
        </p:nvSpPr>
        <p:spPr>
          <a:xfrm>
            <a:off x="565389" y="1810002"/>
            <a:ext cx="320194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Category 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56A95ECD-1D7C-412E-B267-EBD3DFA1B04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329655847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3250043"/>
              </p:ext>
            </p:extLst>
          </p:nvPr>
        </p:nvGraphicFramePr>
        <p:xfrm>
          <a:off x="3566952" y="719165"/>
          <a:ext cx="8558485" cy="5554073"/>
        </p:xfrm>
        <a:graphic>
          <a:graphicData uri="http://schemas.openxmlformats.org/drawingml/2006/table">
            <a:tbl>
              <a:tblPr/>
              <a:tblGrid>
                <a:gridCol w="274290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079838956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528222587"/>
                    </a:ext>
                  </a:extLst>
                </a:gridCol>
              </a:tblGrid>
              <a:tr h="5269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Snack</a:t>
                      </a:r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 Work/ 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5372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936946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repared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5707077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ozen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27919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er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61508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d/Bake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46839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ogurt/Chee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5585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uits and Vegg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840322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alty/Savory Snac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10500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s/See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43244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rack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421343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ok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9337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ars/Bi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69794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s/Can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98751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essert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130504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 Baked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67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ain Meal Foo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39624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ritional Drinks/Smooth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361220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vera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2223951"/>
                  </a:ext>
                </a:extLst>
              </a:tr>
            </a:tbl>
          </a:graphicData>
        </a:graphic>
      </p:graphicFrame>
      <p:sp>
        <p:nvSpPr>
          <p:cNvPr id="16" name="Title 9"/>
          <p:cNvSpPr txBox="1">
            <a:spLocks/>
          </p:cNvSpPr>
          <p:nvPr/>
        </p:nvSpPr>
        <p:spPr>
          <a:xfrm>
            <a:off x="127893" y="98044"/>
            <a:ext cx="7864660" cy="43383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B1348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8" name="Title 3"/>
          <p:cNvSpPr txBox="1">
            <a:spLocks/>
          </p:cNvSpPr>
          <p:nvPr/>
        </p:nvSpPr>
        <p:spPr>
          <a:xfrm>
            <a:off x="565389" y="1810002"/>
            <a:ext cx="320194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Category 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56A95ECD-1D7C-412E-B267-EBD3DFA1B04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126463073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475013"/>
              </p:ext>
            </p:extLst>
          </p:nvPr>
        </p:nvGraphicFramePr>
        <p:xfrm>
          <a:off x="3810000" y="1232128"/>
          <a:ext cx="8309192" cy="2190565"/>
        </p:xfrm>
        <a:graphic>
          <a:graphicData uri="http://schemas.openxmlformats.org/drawingml/2006/table">
            <a:tbl>
              <a:tblPr/>
              <a:tblGrid>
                <a:gridCol w="249360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4294716811"/>
                    </a:ext>
                  </a:extLst>
                </a:gridCol>
              </a:tblGrid>
              <a:tr h="3017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8925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 Benef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046434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9E6895E6-DB77-420F-9312-D027527E6CF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4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425326966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1077920"/>
              </p:ext>
            </p:extLst>
          </p:nvPr>
        </p:nvGraphicFramePr>
        <p:xfrm>
          <a:off x="3810000" y="1232128"/>
          <a:ext cx="8309192" cy="2190565"/>
        </p:xfrm>
        <a:graphic>
          <a:graphicData uri="http://schemas.openxmlformats.org/drawingml/2006/table">
            <a:tbl>
              <a:tblPr/>
              <a:tblGrid>
                <a:gridCol w="249360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4294716811"/>
                    </a:ext>
                  </a:extLst>
                </a:gridCol>
              </a:tblGrid>
              <a:tr h="3017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Snack</a:t>
                      </a:r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 Work/ 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8925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 Benef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046434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9E6895E6-DB77-420F-9312-D027527E6CF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170566971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1782098"/>
              </p:ext>
            </p:extLst>
          </p:nvPr>
        </p:nvGraphicFramePr>
        <p:xfrm>
          <a:off x="3817050" y="990975"/>
          <a:ext cx="8306124" cy="5210796"/>
        </p:xfrm>
        <a:graphic>
          <a:graphicData uri="http://schemas.openxmlformats.org/drawingml/2006/table">
            <a:tbl>
              <a:tblPr/>
              <a:tblGrid>
                <a:gridCol w="2490540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76072134"/>
                    </a:ext>
                  </a:extLst>
                </a:gridCol>
              </a:tblGrid>
              <a:tr h="2855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26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a strong, intense 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simple and 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prote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fi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37116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no artificial flavors/colors/preservativ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low in salt/so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from natural ingr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with whole gra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visible 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no artificial sweete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low/no sug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fresh/freshly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higher quality / 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t is not intru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es not make a m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sy to eat with one h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47076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tailed 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FA432D99-BB3D-403F-B45B-AF9BF2BAC1D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6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325395516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9483126"/>
              </p:ext>
            </p:extLst>
          </p:nvPr>
        </p:nvGraphicFramePr>
        <p:xfrm>
          <a:off x="3817050" y="990975"/>
          <a:ext cx="8306124" cy="5210796"/>
        </p:xfrm>
        <a:graphic>
          <a:graphicData uri="http://schemas.openxmlformats.org/drawingml/2006/table">
            <a:tbl>
              <a:tblPr/>
              <a:tblGrid>
                <a:gridCol w="2490540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76072134"/>
                    </a:ext>
                  </a:extLst>
                </a:gridCol>
              </a:tblGrid>
              <a:tr h="2855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Snack</a:t>
                      </a:r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 Work/ 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26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a strong, intense 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simple and 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prote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fi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37116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no artificial flavors/colors/preservativ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low in salt/so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from natural ingr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with whole gra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visible 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no artificial sweete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low/no sug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fresh/freshly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higher quality / 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t is not intru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es not make a m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sy to eat with one h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47076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tailed 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FA432D99-BB3D-403F-B45B-AF9BF2BAC1D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7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51643255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7950045"/>
              </p:ext>
            </p:extLst>
          </p:nvPr>
        </p:nvGraphicFramePr>
        <p:xfrm>
          <a:off x="3815682" y="985926"/>
          <a:ext cx="8307492" cy="4727274"/>
        </p:xfrm>
        <a:graphic>
          <a:graphicData uri="http://schemas.openxmlformats.org/drawingml/2006/table">
            <a:tbl>
              <a:tblPr/>
              <a:tblGrid>
                <a:gridCol w="249190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94351350"/>
                    </a:ext>
                  </a:extLst>
                </a:gridCol>
              </a:tblGrid>
              <a:tr h="3940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161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y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utine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b &amp; G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amily Enjoy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Buy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nned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at/Reward for Me or my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ecific 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 from a multi-pack/bag/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larger/sharing/multi-serve pack/bag/box/t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37932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Shopper Mission &amp; Packaging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24518" y="5726529"/>
            <a:ext cx="77182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ackaging asked of packaged categories only, excludes categories such as fruits/veggies, sweet baked goods, main meal foods, etc.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DE7CF71-030F-40AF-AF00-B94D3E682DD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8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5" name="NA">
            <a:extLst>
              <a:ext uri="{FF2B5EF4-FFF2-40B4-BE49-F238E27FC236}">
                <a16:creationId xmlns:a16="http://schemas.microsoft.com/office/drawing/2014/main" id="{6156BDE7-C400-4C1B-B1D7-841F1DA7D80E}"/>
              </a:ext>
            </a:extLst>
          </p:cNvPr>
          <p:cNvSpPr txBox="1"/>
          <p:nvPr/>
        </p:nvSpPr>
        <p:spPr>
          <a:xfrm>
            <a:off x="6587418" y="2690192"/>
            <a:ext cx="39756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                  Not Applicable</a:t>
            </a:r>
          </a:p>
        </p:txBody>
      </p:sp>
    </p:spTree>
    <p:extLst>
      <p:ext uri="{BB962C8B-B14F-4D97-AF65-F5344CB8AC3E}">
        <p14:creationId xmlns:p14="http://schemas.microsoft.com/office/powerpoint/2010/main" val="426719076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0911580"/>
              </p:ext>
            </p:extLst>
          </p:nvPr>
        </p:nvGraphicFramePr>
        <p:xfrm>
          <a:off x="3815682" y="985926"/>
          <a:ext cx="8307492" cy="4727274"/>
        </p:xfrm>
        <a:graphic>
          <a:graphicData uri="http://schemas.openxmlformats.org/drawingml/2006/table">
            <a:tbl>
              <a:tblPr/>
              <a:tblGrid>
                <a:gridCol w="249190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94351350"/>
                    </a:ext>
                  </a:extLst>
                </a:gridCol>
              </a:tblGrid>
              <a:tr h="3940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Snack</a:t>
                      </a:r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 Work/ 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161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y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utine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b &amp; G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amily Enjoy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Buy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nned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at/Reward for Me or my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ecific 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 from a multi-pack/bag/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larger/sharing/multi-serve pack/bag/box/t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37932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Shopper Mission &amp; Packaging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24518" y="5726529"/>
            <a:ext cx="77182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ackaging asked of packaged categories only, excludes categories such as fruits/veggies, sweet baked goods, main meal foods, etc.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DE7CF71-030F-40AF-AF00-B94D3E682DD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9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5" name="NA">
            <a:extLst>
              <a:ext uri="{FF2B5EF4-FFF2-40B4-BE49-F238E27FC236}">
                <a16:creationId xmlns:a16="http://schemas.microsoft.com/office/drawing/2014/main" id="{F8E7F3E1-914C-4AE9-8EE1-800F8090F6DB}"/>
              </a:ext>
            </a:extLst>
          </p:cNvPr>
          <p:cNvSpPr txBox="1"/>
          <p:nvPr/>
        </p:nvSpPr>
        <p:spPr>
          <a:xfrm>
            <a:off x="6560914" y="2703443"/>
            <a:ext cx="39756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                  Not Applicable</a:t>
            </a:r>
          </a:p>
        </p:txBody>
      </p:sp>
    </p:spTree>
    <p:extLst>
      <p:ext uri="{BB962C8B-B14F-4D97-AF65-F5344CB8AC3E}">
        <p14:creationId xmlns:p14="http://schemas.microsoft.com/office/powerpoint/2010/main" val="32968115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Understanding Occas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78B6BC-5D2F-489E-AFD2-7DCD6B5318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71236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807897"/>
              </p:ext>
            </p:extLst>
          </p:nvPr>
        </p:nvGraphicFramePr>
        <p:xfrm>
          <a:off x="3810000" y="988158"/>
          <a:ext cx="8055759" cy="4970712"/>
        </p:xfrm>
        <a:graphic>
          <a:graphicData uri="http://schemas.openxmlformats.org/drawingml/2006/table">
            <a:tbl>
              <a:tblPr/>
              <a:tblGrid>
                <a:gridCol w="100573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234440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0000498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277402203"/>
                    </a:ext>
                  </a:extLst>
                </a:gridCol>
              </a:tblGrid>
              <a:tr h="55172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2758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e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Home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0475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o Wi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Oth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04753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al Ti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eas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ven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ur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018931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z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163499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ype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Consumptio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208035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ntane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78988"/>
                  </a:ext>
                </a:extLst>
              </a:tr>
            </a:tbl>
          </a:graphicData>
        </a:graphic>
      </p:graphicFrame>
      <p:sp>
        <p:nvSpPr>
          <p:cNvPr id="16" name="Title 3"/>
          <p:cNvSpPr txBox="1">
            <a:spLocks/>
          </p:cNvSpPr>
          <p:nvPr/>
        </p:nvSpPr>
        <p:spPr>
          <a:xfrm>
            <a:off x="565389" y="1810002"/>
            <a:ext cx="304643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5W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35017A4-1930-4661-B8E1-DD04AD0568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0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3705147898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7607889"/>
              </p:ext>
            </p:extLst>
          </p:nvPr>
        </p:nvGraphicFramePr>
        <p:xfrm>
          <a:off x="3810000" y="988158"/>
          <a:ext cx="8055759" cy="4970712"/>
        </p:xfrm>
        <a:graphic>
          <a:graphicData uri="http://schemas.openxmlformats.org/drawingml/2006/table">
            <a:tbl>
              <a:tblPr/>
              <a:tblGrid>
                <a:gridCol w="100573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234440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0000498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277402203"/>
                    </a:ext>
                  </a:extLst>
                </a:gridCol>
              </a:tblGrid>
              <a:tr h="55172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Snack</a:t>
                      </a:r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 Work/ 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2758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e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Home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0475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o Wi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Oth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04753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al Ti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eas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ven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ur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018931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z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163499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ype</a:t>
                      </a:r>
                      <a:r>
                        <a:rPr lang="en-US" sz="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Consumption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208035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ntane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78988"/>
                  </a:ext>
                </a:extLst>
              </a:tr>
            </a:tbl>
          </a:graphicData>
        </a:graphic>
      </p:graphicFrame>
      <p:sp>
        <p:nvSpPr>
          <p:cNvPr id="16" name="Title 3"/>
          <p:cNvSpPr txBox="1">
            <a:spLocks/>
          </p:cNvSpPr>
          <p:nvPr/>
        </p:nvSpPr>
        <p:spPr>
          <a:xfrm>
            <a:off x="565389" y="1810002"/>
            <a:ext cx="304643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5W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35017A4-1930-4661-B8E1-DD04AD0568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165319992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7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5567786"/>
              </p:ext>
            </p:extLst>
          </p:nvPr>
        </p:nvGraphicFramePr>
        <p:xfrm>
          <a:off x="3810000" y="990215"/>
          <a:ext cx="8301733" cy="5219387"/>
        </p:xfrm>
        <a:graphic>
          <a:graphicData uri="http://schemas.openxmlformats.org/drawingml/2006/table">
            <a:tbl>
              <a:tblPr/>
              <a:tblGrid>
                <a:gridCol w="775730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710419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038021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84051100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19963428"/>
                    </a:ext>
                  </a:extLst>
                </a:gridCol>
              </a:tblGrid>
              <a:tr h="38245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arly Morning Bit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id Morning Snack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82639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e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91982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4-1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46439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13-2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illennial (22-3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X (39-5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omers (55-7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ddle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c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Siz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to 2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11940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to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434683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e than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319747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with</a:t>
                      </a:r>
                      <a:r>
                        <a:rPr lang="en-US" sz="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id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0667255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out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390545"/>
                  </a:ext>
                </a:extLst>
              </a:tr>
            </a:tbl>
          </a:graphicData>
        </a:graphic>
      </p:graphicFrame>
      <p:sp>
        <p:nvSpPr>
          <p:cNvPr id="18" name="Title 3"/>
          <p:cNvSpPr txBox="1">
            <a:spLocks/>
          </p:cNvSpPr>
          <p:nvPr/>
        </p:nvSpPr>
        <p:spPr>
          <a:xfrm>
            <a:off x="565388" y="1810002"/>
            <a:ext cx="347626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mographics</a:t>
            </a:r>
          </a:p>
          <a:p>
            <a:pPr lvl="0"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82BCF0CB-CBAD-4F90-86A6-4EECF7D532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2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264394931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7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857869"/>
              </p:ext>
            </p:extLst>
          </p:nvPr>
        </p:nvGraphicFramePr>
        <p:xfrm>
          <a:off x="3810000" y="990215"/>
          <a:ext cx="8301733" cy="5219387"/>
        </p:xfrm>
        <a:graphic>
          <a:graphicData uri="http://schemas.openxmlformats.org/drawingml/2006/table">
            <a:tbl>
              <a:tblPr/>
              <a:tblGrid>
                <a:gridCol w="775730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710419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038021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84051100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19963428"/>
                    </a:ext>
                  </a:extLst>
                </a:gridCol>
              </a:tblGrid>
              <a:tr h="38245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noon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Snack</a:t>
                      </a:r>
                      <a:endParaRPr 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fter Work/ School Bi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82639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e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91982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4-1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46439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13-2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illennial (22-3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X (39-5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omers (55-7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ddle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c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Siz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to 2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11940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to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434683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e than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319747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with</a:t>
                      </a:r>
                      <a:r>
                        <a:rPr lang="en-US" sz="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id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0667255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out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390545"/>
                  </a:ext>
                </a:extLst>
              </a:tr>
            </a:tbl>
          </a:graphicData>
        </a:graphic>
      </p:graphicFrame>
      <p:sp>
        <p:nvSpPr>
          <p:cNvPr id="18" name="Title 3"/>
          <p:cNvSpPr txBox="1">
            <a:spLocks/>
          </p:cNvSpPr>
          <p:nvPr/>
        </p:nvSpPr>
        <p:spPr>
          <a:xfrm>
            <a:off x="565388" y="1810002"/>
            <a:ext cx="347626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mographics</a:t>
            </a:r>
          </a:p>
          <a:p>
            <a:pPr lvl="0"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82BCF0CB-CBAD-4F90-86A6-4EECF7D532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39" y="48336"/>
            <a:ext cx="215475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Morning &amp; Afternoon Snacking 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201565907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6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 panose="020B0606030402020204" pitchFamily="34" charset="0"/>
              <a:ea typeface="+mj-ea"/>
              <a:cs typeface="Arial" panose="020B0604020202020204" pitchFamily="34" charset="0"/>
              <a:sym typeface="Franklin Gothic Medium Cond" panose="020B06060304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4" y="2779078"/>
            <a:ext cx="9851661" cy="1595698"/>
          </a:xfrm>
        </p:spPr>
        <p:txBody>
          <a:bodyPr anchor="ctr">
            <a:normAutofit/>
          </a:bodyPr>
          <a:lstStyle/>
          <a:p>
            <a:r>
              <a:rPr lang="en-US" dirty="0"/>
              <a:t>Evening Snacking Occas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AE1FD7-F869-42D6-A29E-5344EEA726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8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173384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4691615"/>
              </p:ext>
            </p:extLst>
          </p:nvPr>
        </p:nvGraphicFramePr>
        <p:xfrm>
          <a:off x="3566952" y="719165"/>
          <a:ext cx="8558485" cy="5554073"/>
        </p:xfrm>
        <a:graphic>
          <a:graphicData uri="http://schemas.openxmlformats.org/drawingml/2006/table">
            <a:tbl>
              <a:tblPr/>
              <a:tblGrid>
                <a:gridCol w="274290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079838956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528222587"/>
                    </a:ext>
                  </a:extLst>
                </a:gridCol>
              </a:tblGrid>
              <a:tr h="5269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5372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936946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repared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5707077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ozen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27919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er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61508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d/Bake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46839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ogurt/Chee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5585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uits and Vegg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840322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alty/Savory Snac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10500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s/See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43244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rack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421343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ok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9337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ars/Bi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69794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s/Can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98751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essert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130504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 Baked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67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ain Meal Foo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39624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ritional Drinks/Smooth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361220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vera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2223951"/>
                  </a:ext>
                </a:extLst>
              </a:tr>
            </a:tbl>
          </a:graphicData>
        </a:graphic>
      </p:graphicFrame>
      <p:sp>
        <p:nvSpPr>
          <p:cNvPr id="16" name="Title 9"/>
          <p:cNvSpPr txBox="1">
            <a:spLocks/>
          </p:cNvSpPr>
          <p:nvPr/>
        </p:nvSpPr>
        <p:spPr>
          <a:xfrm>
            <a:off x="127893" y="98044"/>
            <a:ext cx="7864660" cy="43383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B1348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8" name="Title 3"/>
          <p:cNvSpPr txBox="1">
            <a:spLocks/>
          </p:cNvSpPr>
          <p:nvPr/>
        </p:nvSpPr>
        <p:spPr>
          <a:xfrm>
            <a:off x="565389" y="1810002"/>
            <a:ext cx="320194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Category 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56A95ECD-1D7C-412E-B267-EBD3DFA1B04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81C629-B473-418A-817D-13999576D27B}"/>
              </a:ext>
            </a:extLst>
          </p:cNvPr>
          <p:cNvSpPr txBox="1"/>
          <p:nvPr/>
        </p:nvSpPr>
        <p:spPr>
          <a:xfrm>
            <a:off x="32339" y="48336"/>
            <a:ext cx="1542410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Evening Snacking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195228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2153278"/>
              </p:ext>
            </p:extLst>
          </p:nvPr>
        </p:nvGraphicFramePr>
        <p:xfrm>
          <a:off x="3581400" y="732326"/>
          <a:ext cx="5959233" cy="5554073"/>
        </p:xfrm>
        <a:graphic>
          <a:graphicData uri="http://schemas.openxmlformats.org/drawingml/2006/table">
            <a:tbl>
              <a:tblPr/>
              <a:tblGrid>
                <a:gridCol w="305144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079838956"/>
                    </a:ext>
                  </a:extLst>
                </a:gridCol>
              </a:tblGrid>
              <a:tr h="5269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edtime / Late Nigh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5372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936946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repared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5707077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ozen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27919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er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61508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d/Bake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46839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ogurt/Chee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5585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uits and Vegg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840322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alty/Savory Snac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10500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s/See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43244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rack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421343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ok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9337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ars/Bi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69794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s/Can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98751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essert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130504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 Baked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67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ain Meal Foo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39624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ritional Drinks/Smooth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361220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vera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2223951"/>
                  </a:ext>
                </a:extLst>
              </a:tr>
            </a:tbl>
          </a:graphicData>
        </a:graphic>
      </p:graphicFrame>
      <p:sp>
        <p:nvSpPr>
          <p:cNvPr id="16" name="Title 9"/>
          <p:cNvSpPr txBox="1">
            <a:spLocks/>
          </p:cNvSpPr>
          <p:nvPr/>
        </p:nvSpPr>
        <p:spPr>
          <a:xfrm>
            <a:off x="127893" y="98044"/>
            <a:ext cx="7864660" cy="43383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B1348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8" name="Title 3"/>
          <p:cNvSpPr txBox="1">
            <a:spLocks/>
          </p:cNvSpPr>
          <p:nvPr/>
        </p:nvSpPr>
        <p:spPr>
          <a:xfrm>
            <a:off x="565389" y="1810002"/>
            <a:ext cx="320194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Category 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56A95ECD-1D7C-412E-B267-EBD3DFA1B04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6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81C629-B473-418A-817D-13999576D27B}"/>
              </a:ext>
            </a:extLst>
          </p:cNvPr>
          <p:cNvSpPr txBox="1"/>
          <p:nvPr/>
        </p:nvSpPr>
        <p:spPr>
          <a:xfrm>
            <a:off x="32339" y="48336"/>
            <a:ext cx="1542410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Evening Snacking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2236608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8270022"/>
              </p:ext>
            </p:extLst>
          </p:nvPr>
        </p:nvGraphicFramePr>
        <p:xfrm>
          <a:off x="3810000" y="1232128"/>
          <a:ext cx="8309192" cy="2190565"/>
        </p:xfrm>
        <a:graphic>
          <a:graphicData uri="http://schemas.openxmlformats.org/drawingml/2006/table">
            <a:tbl>
              <a:tblPr/>
              <a:tblGrid>
                <a:gridCol w="249360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4294716811"/>
                    </a:ext>
                  </a:extLst>
                </a:gridCol>
              </a:tblGrid>
              <a:tr h="3017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8925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 Benef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046434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9E6895E6-DB77-420F-9312-D027527E6CF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7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481C629-B473-418A-817D-13999576D27B}"/>
              </a:ext>
            </a:extLst>
          </p:cNvPr>
          <p:cNvSpPr txBox="1"/>
          <p:nvPr/>
        </p:nvSpPr>
        <p:spPr>
          <a:xfrm>
            <a:off x="32339" y="48336"/>
            <a:ext cx="1542410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Evening Snacking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6492056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698621"/>
              </p:ext>
            </p:extLst>
          </p:nvPr>
        </p:nvGraphicFramePr>
        <p:xfrm>
          <a:off x="3810000" y="1219200"/>
          <a:ext cx="5509640" cy="2190565"/>
        </p:xfrm>
        <a:graphic>
          <a:graphicData uri="http://schemas.openxmlformats.org/drawingml/2006/table">
            <a:tbl>
              <a:tblPr/>
              <a:tblGrid>
                <a:gridCol w="2601848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</a:tblGrid>
              <a:tr h="3017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edtime / Late Nigh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8925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 Benef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8571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046434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9E6895E6-DB77-420F-9312-D027527E6CF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8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81C629-B473-418A-817D-13999576D27B}"/>
              </a:ext>
            </a:extLst>
          </p:cNvPr>
          <p:cNvSpPr txBox="1"/>
          <p:nvPr/>
        </p:nvSpPr>
        <p:spPr>
          <a:xfrm>
            <a:off x="32339" y="48336"/>
            <a:ext cx="1542410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Evening Snacking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9635484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4034849"/>
              </p:ext>
            </p:extLst>
          </p:nvPr>
        </p:nvGraphicFramePr>
        <p:xfrm>
          <a:off x="3817050" y="990975"/>
          <a:ext cx="8306124" cy="5210796"/>
        </p:xfrm>
        <a:graphic>
          <a:graphicData uri="http://schemas.openxmlformats.org/drawingml/2006/table">
            <a:tbl>
              <a:tblPr/>
              <a:tblGrid>
                <a:gridCol w="2490540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76072134"/>
                    </a:ext>
                  </a:extLst>
                </a:gridCol>
              </a:tblGrid>
              <a:tr h="2855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26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a strong, intense 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simple and 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prote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fi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37116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no artificial flavors/colors/preservativ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low in salt/so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from natural ingr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with whole gra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visible 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no artificial sweete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low/no sug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fresh/freshly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higher quality / 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t is not intru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es not make a m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sy to eat with one h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47076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tailed 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FA432D99-BB3D-403F-B45B-AF9BF2BAC1D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9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481C629-B473-418A-817D-13999576D27B}"/>
              </a:ext>
            </a:extLst>
          </p:cNvPr>
          <p:cNvSpPr txBox="1"/>
          <p:nvPr/>
        </p:nvSpPr>
        <p:spPr>
          <a:xfrm>
            <a:off x="32339" y="48336"/>
            <a:ext cx="1542410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Evening Snacking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78786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121642" y="1926499"/>
            <a:ext cx="5857907" cy="3140393"/>
            <a:chOff x="121642" y="1698913"/>
            <a:chExt cx="5857907" cy="3140393"/>
          </a:xfrm>
        </p:grpSpPr>
        <p:sp>
          <p:nvSpPr>
            <p:cNvPr id="6" name="Title 1"/>
            <p:cNvSpPr txBox="1">
              <a:spLocks/>
            </p:cNvSpPr>
            <p:nvPr/>
          </p:nvSpPr>
          <p:spPr>
            <a:xfrm>
              <a:off x="209551" y="2402742"/>
              <a:ext cx="5520428" cy="2436564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kern="1200">
                  <a:solidFill>
                    <a:srgbClr val="DB1348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67053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An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DC2347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eating situation 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surrounded by what is happening during a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DC2347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specific time and/or place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.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 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This is enhanced by understanding </a:t>
              </a:r>
              <a:r>
                <a:rPr kumimoji="0" lang="en-US" sz="2000" b="0" i="0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who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 is eating, </a:t>
              </a:r>
              <a:r>
                <a:rPr kumimoji="0" lang="en-US" sz="2000" b="0" i="0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what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 they are eating, </a:t>
              </a:r>
              <a:r>
                <a:rPr kumimoji="0" lang="en-US" sz="2000" b="0" i="0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why 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they are eating, the </a:t>
              </a:r>
              <a:r>
                <a:rPr kumimoji="0" lang="en-US" sz="2000" b="0" i="0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retail environment 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+mj-ea"/>
                  <a:cs typeface="+mj-cs"/>
                </a:rPr>
                <a:t>where food was purchased, as well as the physical circumstances surrounding the occasion.</a:t>
              </a: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121642" y="1698913"/>
              <a:ext cx="5857907" cy="526178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Medium Cond"/>
                  <a:ea typeface="+mn-ea"/>
                  <a:cs typeface="+mn-cs"/>
                </a:rPr>
                <a:t>AN OCCASION IS...</a:t>
              </a:r>
            </a:p>
          </p:txBody>
        </p:sp>
      </p:grpSp>
      <p:sp>
        <p:nvSpPr>
          <p:cNvPr id="75" name="Title 4">
            <a:extLst>
              <a:ext uri="{FF2B5EF4-FFF2-40B4-BE49-F238E27FC236}">
                <a16:creationId xmlns:a16="http://schemas.microsoft.com/office/drawing/2014/main" id="{19DB4480-4503-415E-A8F8-555B87EF71B2}"/>
              </a:ext>
            </a:extLst>
          </p:cNvPr>
          <p:cNvSpPr txBox="1">
            <a:spLocks/>
          </p:cNvSpPr>
          <p:nvPr/>
        </p:nvSpPr>
        <p:spPr>
          <a:xfrm>
            <a:off x="121642" y="311588"/>
            <a:ext cx="1207035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0" i="0" u="none" strike="noStrike" kern="1200" cap="none" spc="0" normalizeH="0" baseline="0" noProof="0" dirty="0">
                <a:ln>
                  <a:noFill/>
                </a:ln>
                <a:solidFill>
                  <a:srgbClr val="DB1348"/>
                </a:solidFill>
                <a:effectLst/>
                <a:uLnTx/>
                <a:uFillTx/>
                <a:latin typeface="Franklin Gothic Medium Cond"/>
                <a:ea typeface="+mj-ea"/>
                <a:cs typeface="+mj-cs"/>
              </a:rPr>
              <a:t>Occasion Definition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045A479B-9C51-4C50-B554-BD80729C8038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3679527" y="3460695"/>
            <a:ext cx="4537488" cy="7200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6459223" y="968834"/>
            <a:ext cx="5061385" cy="5055723"/>
            <a:chOff x="6459223" y="968834"/>
            <a:chExt cx="5061385" cy="5055723"/>
          </a:xfrm>
        </p:grpSpPr>
        <p:grpSp>
          <p:nvGrpSpPr>
            <p:cNvPr id="5" name="Group 4"/>
            <p:cNvGrpSpPr/>
            <p:nvPr/>
          </p:nvGrpSpPr>
          <p:grpSpPr>
            <a:xfrm>
              <a:off x="6459223" y="968834"/>
              <a:ext cx="5061385" cy="1006429"/>
              <a:chOff x="6459223" y="1298018"/>
              <a:chExt cx="5061385" cy="1006429"/>
            </a:xfrm>
          </p:grpSpPr>
          <p:sp>
            <p:nvSpPr>
              <p:cNvPr id="113" name="Rectangle 112"/>
              <p:cNvSpPr/>
              <p:nvPr/>
            </p:nvSpPr>
            <p:spPr>
              <a:xfrm>
                <a:off x="7340599" y="1298018"/>
                <a:ext cx="4180009" cy="10064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B1348"/>
                    </a:solidFill>
                    <a:effectLst/>
                    <a:uLnTx/>
                    <a:uFillTx/>
                    <a:latin typeface="Franklin Gothic Medium Cond"/>
                    <a:ea typeface="+mn-ea"/>
                    <a:cs typeface="+mn-cs"/>
                  </a:rPr>
                  <a:t>WHEN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DB1348"/>
                  </a:solidFill>
                  <a:effectLst/>
                  <a:uLnTx/>
                  <a:uFillTx/>
                  <a:latin typeface="Franklin Gothic Medium Cond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+mn-cs"/>
                  </a:rPr>
                  <a:t>When the eating occasion happens (e.g., at breakfast, between meals, after work, right before going to bed, etc.)</a:t>
                </a:r>
              </a:p>
            </p:txBody>
          </p:sp>
          <p:pic>
            <p:nvPicPr>
              <p:cNvPr id="84" name="Picture 83">
                <a:extLst>
                  <a:ext uri="{FF2B5EF4-FFF2-40B4-BE49-F238E27FC236}">
                    <a16:creationId xmlns:a16="http://schemas.microsoft.com/office/drawing/2014/main" id="{74C3F554-8530-48A2-925A-3CC8045F05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459223" y="1441232"/>
                <a:ext cx="720000" cy="720000"/>
              </a:xfrm>
              <a:prstGeom prst="rect">
                <a:avLst/>
              </a:prstGeom>
            </p:spPr>
          </p:pic>
        </p:grpSp>
        <p:grpSp>
          <p:nvGrpSpPr>
            <p:cNvPr id="2" name="Group 1"/>
            <p:cNvGrpSpPr/>
            <p:nvPr/>
          </p:nvGrpSpPr>
          <p:grpSpPr>
            <a:xfrm>
              <a:off x="6459223" y="2078107"/>
              <a:ext cx="5061385" cy="812530"/>
              <a:chOff x="6459223" y="2191937"/>
              <a:chExt cx="5061385" cy="812530"/>
            </a:xfrm>
          </p:grpSpPr>
          <p:sp>
            <p:nvSpPr>
              <p:cNvPr id="114" name="Rectangle 113"/>
              <p:cNvSpPr/>
              <p:nvPr/>
            </p:nvSpPr>
            <p:spPr>
              <a:xfrm>
                <a:off x="7340599" y="2191937"/>
                <a:ext cx="4180009" cy="8125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B1348"/>
                    </a:solidFill>
                    <a:effectLst/>
                    <a:uLnTx/>
                    <a:uFillTx/>
                    <a:latin typeface="Franklin Gothic Medium Cond"/>
                    <a:ea typeface="+mn-ea"/>
                    <a:cs typeface="+mn-cs"/>
                  </a:rPr>
                  <a:t>WHERE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DB1348"/>
                  </a:solidFill>
                  <a:effectLst/>
                  <a:uLnTx/>
                  <a:uFillTx/>
                  <a:latin typeface="Franklin Gothic Medium Cond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+mn-cs"/>
                  </a:rPr>
                  <a:t>Where the eating occasion takes place (e.g., at home, in the office, in a restaurant, etc.)</a:t>
                </a:r>
              </a:p>
            </p:txBody>
          </p:sp>
          <p:pic>
            <p:nvPicPr>
              <p:cNvPr id="85" name="Picture 84">
                <a:extLst>
                  <a:ext uri="{FF2B5EF4-FFF2-40B4-BE49-F238E27FC236}">
                    <a16:creationId xmlns:a16="http://schemas.microsoft.com/office/drawing/2014/main" id="{586744B6-370A-491B-BCE2-D25BCC57E6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459223" y="2238202"/>
                <a:ext cx="720000" cy="720000"/>
              </a:xfrm>
              <a:prstGeom prst="rect">
                <a:avLst/>
              </a:prstGeom>
            </p:spPr>
          </p:pic>
        </p:grpSp>
        <p:grpSp>
          <p:nvGrpSpPr>
            <p:cNvPr id="4" name="Group 3"/>
            <p:cNvGrpSpPr/>
            <p:nvPr/>
          </p:nvGrpSpPr>
          <p:grpSpPr>
            <a:xfrm>
              <a:off x="6459223" y="2993481"/>
              <a:ext cx="5061385" cy="1006429"/>
              <a:chOff x="6459223" y="3085858"/>
              <a:chExt cx="5061385" cy="1006429"/>
            </a:xfrm>
          </p:grpSpPr>
          <p:sp>
            <p:nvSpPr>
              <p:cNvPr id="115" name="Rectangle 114"/>
              <p:cNvSpPr/>
              <p:nvPr/>
            </p:nvSpPr>
            <p:spPr>
              <a:xfrm>
                <a:off x="7340599" y="3085858"/>
                <a:ext cx="4180009" cy="10064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B1348"/>
                    </a:solidFill>
                    <a:effectLst/>
                    <a:uLnTx/>
                    <a:uFillTx/>
                    <a:latin typeface="Franklin Gothic Medium Cond"/>
                    <a:ea typeface="+mn-ea"/>
                    <a:cs typeface="+mn-cs"/>
                  </a:rPr>
                  <a:t>WH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+mn-cs"/>
                  </a:rPr>
                  <a:t>Why the product is chosen instead of others (e.g., nutritional benefits, relieve boredom, satisfy hunger, within reach, etc.)</a:t>
                </a:r>
              </a:p>
            </p:txBody>
          </p:sp>
          <p:pic>
            <p:nvPicPr>
              <p:cNvPr id="86" name="Picture 85">
                <a:extLst>
                  <a:ext uri="{FF2B5EF4-FFF2-40B4-BE49-F238E27FC236}">
                    <a16:creationId xmlns:a16="http://schemas.microsoft.com/office/drawing/2014/main" id="{21FF4724-B583-45DB-91BE-14DF16825B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459223" y="3229072"/>
                <a:ext cx="720000" cy="720000"/>
              </a:xfrm>
              <a:prstGeom prst="rect">
                <a:avLst/>
              </a:prstGeom>
            </p:spPr>
          </p:pic>
        </p:grpSp>
        <p:grpSp>
          <p:nvGrpSpPr>
            <p:cNvPr id="7" name="Group 6"/>
            <p:cNvGrpSpPr/>
            <p:nvPr/>
          </p:nvGrpSpPr>
          <p:grpSpPr>
            <a:xfrm>
              <a:off x="6459223" y="4102754"/>
              <a:ext cx="5061385" cy="1006429"/>
              <a:chOff x="6459223" y="3979779"/>
              <a:chExt cx="5061385" cy="1006429"/>
            </a:xfrm>
          </p:grpSpPr>
          <p:sp>
            <p:nvSpPr>
              <p:cNvPr id="116" name="Rectangle 115"/>
              <p:cNvSpPr/>
              <p:nvPr/>
            </p:nvSpPr>
            <p:spPr>
              <a:xfrm>
                <a:off x="7340599" y="3979779"/>
                <a:ext cx="4180009" cy="10064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B1348"/>
                    </a:solidFill>
                    <a:effectLst/>
                    <a:uLnTx/>
                    <a:uFillTx/>
                    <a:latin typeface="Franklin Gothic Medium Cond"/>
                    <a:ea typeface="+mn-ea"/>
                    <a:cs typeface="+mn-cs"/>
                  </a:rPr>
                  <a:t>WHO/WHO WITH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+mn-cs"/>
                  </a:rPr>
                  <a:t>Who consumes the product and with whom (e.g., children at breakfast with parents, young millennials alone at night, etc.)</a:t>
                </a:r>
              </a:p>
            </p:txBody>
          </p:sp>
          <p:pic>
            <p:nvPicPr>
              <p:cNvPr id="87" name="Picture 86">
                <a:extLst>
                  <a:ext uri="{FF2B5EF4-FFF2-40B4-BE49-F238E27FC236}">
                    <a16:creationId xmlns:a16="http://schemas.microsoft.com/office/drawing/2014/main" id="{5EACBBD4-346E-461B-864C-61743CB4BA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459223" y="4122993"/>
                <a:ext cx="720000" cy="720000"/>
              </a:xfrm>
              <a:prstGeom prst="rect">
                <a:avLst/>
              </a:prstGeom>
            </p:spPr>
          </p:pic>
        </p:grpSp>
        <p:grpSp>
          <p:nvGrpSpPr>
            <p:cNvPr id="8" name="Group 7"/>
            <p:cNvGrpSpPr/>
            <p:nvPr/>
          </p:nvGrpSpPr>
          <p:grpSpPr>
            <a:xfrm>
              <a:off x="6459223" y="5212027"/>
              <a:ext cx="5061385" cy="812530"/>
              <a:chOff x="6459223" y="4873699"/>
              <a:chExt cx="5061385" cy="812530"/>
            </a:xfrm>
          </p:grpSpPr>
          <p:sp>
            <p:nvSpPr>
              <p:cNvPr id="117" name="Rectangle 116"/>
              <p:cNvSpPr/>
              <p:nvPr/>
            </p:nvSpPr>
            <p:spPr>
              <a:xfrm>
                <a:off x="7340599" y="4873699"/>
                <a:ext cx="4180009" cy="8125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B1348"/>
                    </a:solidFill>
                    <a:effectLst/>
                    <a:uLnTx/>
                    <a:uFillTx/>
                    <a:latin typeface="Franklin Gothic Medium Cond"/>
                    <a:ea typeface="+mn-ea"/>
                    <a:cs typeface="+mn-cs"/>
                  </a:rPr>
                  <a:t>WHAT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+mn-ea"/>
                    <a:cs typeface="+mn-cs"/>
                  </a:rPr>
                  <a:t>What is eaten (e.g. trial mix, granola bar with a cup of coffee, cereal with yogurt, etc.)</a:t>
                </a:r>
              </a:p>
            </p:txBody>
          </p:sp>
          <p:pic>
            <p:nvPicPr>
              <p:cNvPr id="88" name="Picture 87">
                <a:extLst>
                  <a:ext uri="{FF2B5EF4-FFF2-40B4-BE49-F238E27FC236}">
                    <a16:creationId xmlns:a16="http://schemas.microsoft.com/office/drawing/2014/main" id="{657F8C88-DFC4-441A-AC90-E88B85CAEE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459223" y="4919964"/>
                <a:ext cx="720000" cy="720000"/>
              </a:xfrm>
              <a:prstGeom prst="rect">
                <a:avLst/>
              </a:prstGeom>
            </p:spPr>
          </p:pic>
        </p:grpSp>
      </p:grp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3013894-4A12-42BD-B671-A37AD69DD8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8718784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8817958"/>
              </p:ext>
            </p:extLst>
          </p:nvPr>
        </p:nvGraphicFramePr>
        <p:xfrm>
          <a:off x="3810000" y="990975"/>
          <a:ext cx="5412476" cy="5210796"/>
        </p:xfrm>
        <a:graphic>
          <a:graphicData uri="http://schemas.openxmlformats.org/drawingml/2006/table">
            <a:tbl>
              <a:tblPr/>
              <a:tblGrid>
                <a:gridCol w="2504684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</a:tblGrid>
              <a:tr h="2855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edtime / Late Nigh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26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a strong, intense flav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simple and 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prote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a good source of fi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37116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no artificial flavors/colors/preservativ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low in salt/sod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from natural ingred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made with whole gra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s visible ingred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no artificial sweete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ains low/no sug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fresh/freshly ma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 higher quality / 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t is not intru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702508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es not make a m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230247"/>
                  </a:ext>
                </a:extLst>
              </a:tr>
              <a:tr h="27184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sy to eat with one h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1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667093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47076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tailed Product Attribute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FA432D99-BB3D-403F-B45B-AF9BF2BAC1D5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0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81C629-B473-418A-817D-13999576D27B}"/>
              </a:ext>
            </a:extLst>
          </p:cNvPr>
          <p:cNvSpPr txBox="1"/>
          <p:nvPr/>
        </p:nvSpPr>
        <p:spPr>
          <a:xfrm>
            <a:off x="32339" y="48336"/>
            <a:ext cx="1542410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Evening Snacking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8570828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0404361"/>
              </p:ext>
            </p:extLst>
          </p:nvPr>
        </p:nvGraphicFramePr>
        <p:xfrm>
          <a:off x="3815682" y="985926"/>
          <a:ext cx="8039434" cy="4727274"/>
        </p:xfrm>
        <a:graphic>
          <a:graphicData uri="http://schemas.openxmlformats.org/drawingml/2006/table">
            <a:tbl>
              <a:tblPr/>
              <a:tblGrid>
                <a:gridCol w="2411502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06983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06983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  <a:gridCol w="1406983">
                  <a:extLst>
                    <a:ext uri="{9D8B030D-6E8A-4147-A177-3AD203B41FA5}">
                      <a16:colId xmlns:a16="http://schemas.microsoft.com/office/drawing/2014/main" val="952098925"/>
                    </a:ext>
                  </a:extLst>
                </a:gridCol>
                <a:gridCol w="1406983">
                  <a:extLst>
                    <a:ext uri="{9D8B030D-6E8A-4147-A177-3AD203B41FA5}">
                      <a16:colId xmlns:a16="http://schemas.microsoft.com/office/drawing/2014/main" val="2494351350"/>
                    </a:ext>
                  </a:extLst>
                </a:gridCol>
              </a:tblGrid>
              <a:tr h="3940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161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y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utine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b &amp; G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amily Enjoy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Buy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nned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at/Reward for Me or my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ecific 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 from a multi-pack/bag/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larger/sharing/multi-serve pack/bag/box/t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37932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Shopper Mission &amp; Packaging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15682" y="6158349"/>
            <a:ext cx="77182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ackaging asked of packaged categories only, excludes categories such as fruits/veggies, sweet baked goods, main meal foods, etc.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DE7CF71-030F-40AF-AF00-B94D3E682DD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81C629-B473-418A-817D-13999576D27B}"/>
              </a:ext>
            </a:extLst>
          </p:cNvPr>
          <p:cNvSpPr txBox="1"/>
          <p:nvPr/>
        </p:nvSpPr>
        <p:spPr>
          <a:xfrm>
            <a:off x="32339" y="48336"/>
            <a:ext cx="1542410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Evening Snacking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4" name="NA">
            <a:extLst>
              <a:ext uri="{FF2B5EF4-FFF2-40B4-BE49-F238E27FC236}">
                <a16:creationId xmlns:a16="http://schemas.microsoft.com/office/drawing/2014/main" id="{38A05232-CB29-4FD2-9FBF-D5C4A4AF9811}"/>
              </a:ext>
            </a:extLst>
          </p:cNvPr>
          <p:cNvSpPr txBox="1"/>
          <p:nvPr/>
        </p:nvSpPr>
        <p:spPr>
          <a:xfrm>
            <a:off x="6454897" y="2690192"/>
            <a:ext cx="39756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                  Not Applicable</a:t>
            </a:r>
          </a:p>
        </p:txBody>
      </p:sp>
    </p:spTree>
    <p:extLst>
      <p:ext uri="{BB962C8B-B14F-4D97-AF65-F5344CB8AC3E}">
        <p14:creationId xmlns:p14="http://schemas.microsoft.com/office/powerpoint/2010/main" val="3522184542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8161856"/>
              </p:ext>
            </p:extLst>
          </p:nvPr>
        </p:nvGraphicFramePr>
        <p:xfrm>
          <a:off x="3818837" y="740505"/>
          <a:ext cx="5423363" cy="4727274"/>
        </p:xfrm>
        <a:graphic>
          <a:graphicData uri="http://schemas.openxmlformats.org/drawingml/2006/table">
            <a:tbl>
              <a:tblPr/>
              <a:tblGrid>
                <a:gridCol w="251557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48346765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4214390"/>
                    </a:ext>
                  </a:extLst>
                </a:gridCol>
              </a:tblGrid>
              <a:tr h="3940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edtime / Late Nigh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16150">
                <a:tc>
                  <a:txBody>
                    <a:bodyPr/>
                    <a:lstStyle/>
                    <a:p>
                      <a:pPr algn="l"/>
                      <a:endParaRPr lang="en-US" sz="1000" b="0" dirty="0">
                        <a:solidFill>
                          <a:srgbClr val="595959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796569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althy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utine Replen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65810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b &amp; G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32685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amily Enjoy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88091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Buy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3327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ntaneous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52888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nned D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648890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at/Reward for Me or my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ecific 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63895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6773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912518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-pack/individual portion from a multi-pack/bag/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99376"/>
                  </a:ext>
                </a:extLst>
              </a:tr>
              <a:tr h="2747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larger/sharing/multi-serve pack/bag/box/t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808971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565389" y="1810002"/>
            <a:ext cx="3137932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Shopper Mission &amp; Packaging Type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18837" y="6117495"/>
            <a:ext cx="80202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ackaging asked of packaged categories only, excludes categories such as fruits/veggies, sweet baked goods, main meal foods, etc.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DE7CF71-030F-40AF-AF00-B94D3E682DD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2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81C629-B473-418A-817D-13999576D27B}"/>
              </a:ext>
            </a:extLst>
          </p:cNvPr>
          <p:cNvSpPr txBox="1"/>
          <p:nvPr/>
        </p:nvSpPr>
        <p:spPr>
          <a:xfrm>
            <a:off x="32339" y="48336"/>
            <a:ext cx="1542410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Evening Snacking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5" name="NA">
            <a:extLst>
              <a:ext uri="{FF2B5EF4-FFF2-40B4-BE49-F238E27FC236}">
                <a16:creationId xmlns:a16="http://schemas.microsoft.com/office/drawing/2014/main" id="{F2218B58-5B1D-42EE-96E6-00D2DAEF0DAD}"/>
              </a:ext>
            </a:extLst>
          </p:cNvPr>
          <p:cNvSpPr txBox="1"/>
          <p:nvPr/>
        </p:nvSpPr>
        <p:spPr>
          <a:xfrm>
            <a:off x="5266548" y="2585264"/>
            <a:ext cx="39756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                  Not Applicable</a:t>
            </a:r>
          </a:p>
        </p:txBody>
      </p:sp>
    </p:spTree>
    <p:extLst>
      <p:ext uri="{BB962C8B-B14F-4D97-AF65-F5344CB8AC3E}">
        <p14:creationId xmlns:p14="http://schemas.microsoft.com/office/powerpoint/2010/main" val="3557954307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0141965"/>
              </p:ext>
            </p:extLst>
          </p:nvPr>
        </p:nvGraphicFramePr>
        <p:xfrm>
          <a:off x="3191854" y="799265"/>
          <a:ext cx="8055759" cy="4970712"/>
        </p:xfrm>
        <a:graphic>
          <a:graphicData uri="http://schemas.openxmlformats.org/drawingml/2006/table">
            <a:tbl>
              <a:tblPr/>
              <a:tblGrid>
                <a:gridCol w="100573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234440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0000498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277402203"/>
                    </a:ext>
                  </a:extLst>
                </a:gridCol>
              </a:tblGrid>
              <a:tr h="55172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2758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e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Home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0475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o Wi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Oth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04753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al Ti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eas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ven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ur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018931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z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163499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ype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Consumptio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208035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ntane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78988"/>
                  </a:ext>
                </a:extLst>
              </a:tr>
            </a:tbl>
          </a:graphicData>
        </a:graphic>
      </p:graphicFrame>
      <p:sp>
        <p:nvSpPr>
          <p:cNvPr id="16" name="Title 3"/>
          <p:cNvSpPr txBox="1">
            <a:spLocks/>
          </p:cNvSpPr>
          <p:nvPr/>
        </p:nvSpPr>
        <p:spPr>
          <a:xfrm>
            <a:off x="565389" y="1810002"/>
            <a:ext cx="304643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5W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35017A4-1930-4661-B8E1-DD04AD0568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481C629-B473-418A-817D-13999576D27B}"/>
              </a:ext>
            </a:extLst>
          </p:cNvPr>
          <p:cNvSpPr txBox="1"/>
          <p:nvPr/>
        </p:nvSpPr>
        <p:spPr>
          <a:xfrm>
            <a:off x="32339" y="48336"/>
            <a:ext cx="1542410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Evening Snacking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138880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3729900"/>
              </p:ext>
            </p:extLst>
          </p:nvPr>
        </p:nvGraphicFramePr>
        <p:xfrm>
          <a:off x="2935704" y="943644"/>
          <a:ext cx="5238375" cy="4970712"/>
        </p:xfrm>
        <a:graphic>
          <a:graphicData uri="http://schemas.openxmlformats.org/drawingml/2006/table">
            <a:tbl>
              <a:tblPr/>
              <a:tblGrid>
                <a:gridCol w="946485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262120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514885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514885">
                  <a:extLst>
                    <a:ext uri="{9D8B030D-6E8A-4147-A177-3AD203B41FA5}">
                      <a16:colId xmlns:a16="http://schemas.microsoft.com/office/drawing/2014/main" val="1700004983"/>
                    </a:ext>
                  </a:extLst>
                </a:gridCol>
              </a:tblGrid>
              <a:tr h="55172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edtime / Late Nigh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42758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e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</a:t>
                      </a:r>
                      <a:r>
                        <a:rPr lang="en-US" sz="10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Home</a:t>
                      </a: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30475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o Wi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Fami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 Oth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304753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al Ti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eas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ven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urish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018931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0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az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163499"/>
                  </a:ext>
                </a:extLst>
              </a:tr>
              <a:tr h="3047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ype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 Consumptio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208035"/>
                  </a:ext>
                </a:extLst>
              </a:tr>
              <a:tr h="304753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ntaneo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878988"/>
                  </a:ext>
                </a:extLst>
              </a:tr>
            </a:tbl>
          </a:graphicData>
        </a:graphic>
      </p:graphicFrame>
      <p:sp>
        <p:nvSpPr>
          <p:cNvPr id="16" name="Title 3"/>
          <p:cNvSpPr txBox="1">
            <a:spLocks/>
          </p:cNvSpPr>
          <p:nvPr/>
        </p:nvSpPr>
        <p:spPr>
          <a:xfrm>
            <a:off x="565389" y="1810002"/>
            <a:ext cx="3046433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5Ws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A35017A4-1930-4661-B8E1-DD04AD0568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4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81C629-B473-418A-817D-13999576D27B}"/>
              </a:ext>
            </a:extLst>
          </p:cNvPr>
          <p:cNvSpPr txBox="1"/>
          <p:nvPr/>
        </p:nvSpPr>
        <p:spPr>
          <a:xfrm>
            <a:off x="32339" y="48336"/>
            <a:ext cx="1542410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Evening Snacking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966274201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7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6708302"/>
              </p:ext>
            </p:extLst>
          </p:nvPr>
        </p:nvGraphicFramePr>
        <p:xfrm>
          <a:off x="3539027" y="772727"/>
          <a:ext cx="8301733" cy="5219387"/>
        </p:xfrm>
        <a:graphic>
          <a:graphicData uri="http://schemas.openxmlformats.org/drawingml/2006/table">
            <a:tbl>
              <a:tblPr/>
              <a:tblGrid>
                <a:gridCol w="775730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710419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0380214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84051100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619963428"/>
                    </a:ext>
                  </a:extLst>
                </a:gridCol>
              </a:tblGrid>
              <a:tr h="38245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vening M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Evening W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82639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e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91982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4-1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46439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13-2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illennial (22-3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X (39-5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omers (55-7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ddle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c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Siz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to 2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11940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to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434683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e than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319747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with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id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0667255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out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390545"/>
                  </a:ext>
                </a:extLst>
              </a:tr>
            </a:tbl>
          </a:graphicData>
        </a:graphic>
      </p:graphicFrame>
      <p:sp>
        <p:nvSpPr>
          <p:cNvPr id="18" name="Title 3"/>
          <p:cNvSpPr txBox="1">
            <a:spLocks/>
          </p:cNvSpPr>
          <p:nvPr/>
        </p:nvSpPr>
        <p:spPr>
          <a:xfrm>
            <a:off x="565388" y="1810002"/>
            <a:ext cx="347626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mographics</a:t>
            </a:r>
          </a:p>
          <a:p>
            <a:pPr lvl="0"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82BCF0CB-CBAD-4F90-86A6-4EECF7D532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481C629-B473-418A-817D-13999576D27B}"/>
              </a:ext>
            </a:extLst>
          </p:cNvPr>
          <p:cNvSpPr txBox="1"/>
          <p:nvPr/>
        </p:nvSpPr>
        <p:spPr>
          <a:xfrm>
            <a:off x="32339" y="48336"/>
            <a:ext cx="1542410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Evening Snacking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993646039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7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3134344"/>
              </p:ext>
            </p:extLst>
          </p:nvPr>
        </p:nvGraphicFramePr>
        <p:xfrm>
          <a:off x="3539027" y="591516"/>
          <a:ext cx="4982194" cy="5354125"/>
        </p:xfrm>
        <a:graphic>
          <a:graphicData uri="http://schemas.openxmlformats.org/drawingml/2006/table">
            <a:tbl>
              <a:tblPr/>
              <a:tblGrid>
                <a:gridCol w="696346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373628">
                  <a:extLst>
                    <a:ext uri="{9D8B030D-6E8A-4147-A177-3AD203B41FA5}">
                      <a16:colId xmlns:a16="http://schemas.microsoft.com/office/drawing/2014/main" val="2232639040"/>
                    </a:ext>
                  </a:extLst>
                </a:gridCol>
                <a:gridCol w="1456110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6110">
                  <a:extLst>
                    <a:ext uri="{9D8B030D-6E8A-4147-A177-3AD203B41FA5}">
                      <a16:colId xmlns:a16="http://schemas.microsoft.com/office/drawing/2014/main" val="1603802140"/>
                    </a:ext>
                  </a:extLst>
                </a:gridCol>
              </a:tblGrid>
              <a:tr h="38245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Bedtime / Late Nigh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82639">
                <a:tc>
                  <a:txBody>
                    <a:bodyPr/>
                    <a:lstStyle/>
                    <a:p>
                      <a:endParaRPr lang="en-US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104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0966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e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55263"/>
                  </a:ext>
                </a:extLst>
              </a:tr>
              <a:tr h="291982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4-1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464390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Z (13-21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86954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illennial (22-3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858286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 X (39-5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6472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1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omers (55-7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08071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195172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ddle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92594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come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46860"/>
                  </a:ext>
                </a:extLst>
              </a:tr>
              <a:tr h="29198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Siz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to 2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119409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to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434683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e than 5 memb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319747"/>
                  </a:ext>
                </a:extLst>
              </a:tr>
              <a:tr h="29198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 with</a:t>
                      </a:r>
                      <a:r>
                        <a:rPr 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id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0667255"/>
                  </a:ext>
                </a:extLst>
              </a:tr>
              <a:tr h="2919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H</a:t>
                      </a:r>
                      <a:r>
                        <a:rPr lang="en-US" sz="1100" b="0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thout Kids</a:t>
                      </a:r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390545"/>
                  </a:ext>
                </a:extLst>
              </a:tr>
            </a:tbl>
          </a:graphicData>
        </a:graphic>
      </p:graphicFrame>
      <p:sp>
        <p:nvSpPr>
          <p:cNvPr id="18" name="Title 3"/>
          <p:cNvSpPr txBox="1">
            <a:spLocks/>
          </p:cNvSpPr>
          <p:nvPr/>
        </p:nvSpPr>
        <p:spPr>
          <a:xfrm>
            <a:off x="565388" y="1810002"/>
            <a:ext cx="347626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Demographics</a:t>
            </a:r>
          </a:p>
          <a:p>
            <a:pPr lvl="0"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82BCF0CB-CBAD-4F90-86A6-4EECF7D532CD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6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81C629-B473-418A-817D-13999576D27B}"/>
              </a:ext>
            </a:extLst>
          </p:cNvPr>
          <p:cNvSpPr txBox="1"/>
          <p:nvPr/>
        </p:nvSpPr>
        <p:spPr>
          <a:xfrm>
            <a:off x="32339" y="48336"/>
            <a:ext cx="1542410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  <a:cs typeface="Arial"/>
              </a:rPr>
              <a:t>Evening Snacking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</p:spTree>
    <p:extLst>
      <p:ext uri="{BB962C8B-B14F-4D97-AF65-F5344CB8AC3E}">
        <p14:creationId xmlns:p14="http://schemas.microsoft.com/office/powerpoint/2010/main" val="4285361935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6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 Cond" panose="020B0606030402020204" pitchFamily="34" charset="0"/>
              <a:ea typeface="+mj-ea"/>
              <a:cs typeface="Arial" panose="020B0604020202020204" pitchFamily="34" charset="0"/>
              <a:sym typeface="Franklin Gothic Medium Cond" panose="020B06060304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6234" y="2779078"/>
            <a:ext cx="9851661" cy="1595698"/>
          </a:xfrm>
        </p:spPr>
        <p:txBody>
          <a:bodyPr anchor="ctr">
            <a:normAutofit/>
          </a:bodyPr>
          <a:lstStyle/>
          <a:p>
            <a:r>
              <a:rPr lang="en-US" dirty="0"/>
              <a:t>Lunch &amp; Dinner Occas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4FA3F9-383C-4210-93F6-EFDE1F037B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6DCA39-FE7E-4B33-9419-C9BB65BD885E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9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042546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6887932"/>
              </p:ext>
            </p:extLst>
          </p:nvPr>
        </p:nvGraphicFramePr>
        <p:xfrm>
          <a:off x="3152187" y="493171"/>
          <a:ext cx="8558485" cy="5554073"/>
        </p:xfrm>
        <a:graphic>
          <a:graphicData uri="http://schemas.openxmlformats.org/drawingml/2006/table">
            <a:tbl>
              <a:tblPr/>
              <a:tblGrid>
                <a:gridCol w="274290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079838956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528222587"/>
                    </a:ext>
                  </a:extLst>
                </a:gridCol>
              </a:tblGrid>
              <a:tr h="5269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Lunch</a:t>
                      </a:r>
                      <a:r>
                        <a:rPr lang="en-US" sz="14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lternative</a:t>
                      </a:r>
                      <a:endParaRPr lang="en-US" sz="1400" b="1" i="0" u="none" strike="noStrike" baseline="0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5372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936946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repared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5707077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ozen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27919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er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61508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d/Bake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46839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ogurt/Chee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5585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uits and Vegg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840322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alty/Savory Snac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10500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s/See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43244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rack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421343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ok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9337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ars/Bi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69794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s/Can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98751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essert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130504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 Baked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67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ain Meal Foo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39624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ritional Drinks/Smooth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361220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vera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2223951"/>
                  </a:ext>
                </a:extLst>
              </a:tr>
            </a:tbl>
          </a:graphicData>
        </a:graphic>
      </p:graphicFrame>
      <p:sp>
        <p:nvSpPr>
          <p:cNvPr id="16" name="Title 9"/>
          <p:cNvSpPr txBox="1">
            <a:spLocks/>
          </p:cNvSpPr>
          <p:nvPr/>
        </p:nvSpPr>
        <p:spPr>
          <a:xfrm>
            <a:off x="127893" y="98044"/>
            <a:ext cx="7864660" cy="43383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B1348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8" name="Title 3"/>
          <p:cNvSpPr txBox="1">
            <a:spLocks/>
          </p:cNvSpPr>
          <p:nvPr/>
        </p:nvSpPr>
        <p:spPr>
          <a:xfrm>
            <a:off x="565389" y="1810002"/>
            <a:ext cx="320194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Category 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56A95ECD-1D7C-412E-B267-EBD3DFA1B04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8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339" y="48336"/>
            <a:ext cx="14398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Lunch &amp; Dinner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018778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3" name="Object 34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43" name="Object 3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Rectangle 343" hidden="1"/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698111"/>
              </p:ext>
            </p:extLst>
          </p:nvPr>
        </p:nvGraphicFramePr>
        <p:xfrm>
          <a:off x="3152187" y="506860"/>
          <a:ext cx="8558485" cy="5554073"/>
        </p:xfrm>
        <a:graphic>
          <a:graphicData uri="http://schemas.openxmlformats.org/drawingml/2006/table">
            <a:tbl>
              <a:tblPr/>
              <a:tblGrid>
                <a:gridCol w="2742901">
                  <a:extLst>
                    <a:ext uri="{9D8B030D-6E8A-4147-A177-3AD203B41FA5}">
                      <a16:colId xmlns:a16="http://schemas.microsoft.com/office/drawing/2014/main" val="3797023813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96475309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079838956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4057605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3528222587"/>
                    </a:ext>
                  </a:extLst>
                </a:gridCol>
              </a:tblGrid>
              <a:tr h="5269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Din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Dinner Alterna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270895"/>
                  </a:ext>
                </a:extLst>
              </a:tr>
              <a:tr h="295372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 2020 (During-COVID19), Q3 2020 (During-COVID19), Q4 2020 (During-COVID1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PT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HG</a:t>
                      </a:r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. </a:t>
                      </a:r>
                      <a:r>
                        <a:rPr lang="en-US" sz="800" b="1" i="0" u="none" strike="noStrike" dirty="0" err="1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AGO</a:t>
                      </a:r>
                      <a:endParaRPr lang="en-US" sz="8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936946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repared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5707077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ozen Breakfast F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27919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ere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61508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ead/Bake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46839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ogurt/Chee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5585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Fruits and Vegg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840322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alty/Savory Snac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10500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s/See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43244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rack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421343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Cook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93376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ars/Bi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69794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s/Can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987518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Dessert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1305041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Sweet Baked Ite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679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ain Meal Foo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396242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Nutritional Drinks/Smooth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3612205"/>
                  </a:ext>
                </a:extLst>
              </a:tr>
              <a:tr h="268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evera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Arial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2223951"/>
                  </a:ext>
                </a:extLst>
              </a:tr>
            </a:tbl>
          </a:graphicData>
        </a:graphic>
      </p:graphicFrame>
      <p:sp>
        <p:nvSpPr>
          <p:cNvPr id="16" name="Title 9"/>
          <p:cNvSpPr txBox="1">
            <a:spLocks/>
          </p:cNvSpPr>
          <p:nvPr/>
        </p:nvSpPr>
        <p:spPr>
          <a:xfrm>
            <a:off x="127893" y="98044"/>
            <a:ext cx="7864660" cy="43383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B1348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8" name="Title 3"/>
          <p:cNvSpPr txBox="1">
            <a:spLocks/>
          </p:cNvSpPr>
          <p:nvPr/>
        </p:nvSpPr>
        <p:spPr>
          <a:xfrm>
            <a:off x="565389" y="1810002"/>
            <a:ext cx="3201940" cy="201219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DB134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600" dirty="0"/>
              <a:t>Category Consumption</a:t>
            </a:r>
          </a:p>
          <a:p>
            <a:pPr>
              <a:defRPr/>
            </a:pPr>
            <a:r>
              <a:rPr lang="en-US" sz="2400" dirty="0">
                <a:solidFill>
                  <a:srgbClr val="595959"/>
                </a:solidFill>
              </a:rPr>
              <a:t>Share of Occas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56A95ECD-1D7C-412E-B267-EBD3DFA1B046}"/>
              </a:ext>
            </a:extLst>
          </p:cNvPr>
          <p:cNvSpPr txBox="1">
            <a:spLocks/>
          </p:cNvSpPr>
          <p:nvPr/>
        </p:nvSpPr>
        <p:spPr>
          <a:xfrm>
            <a:off x="11710672" y="6550832"/>
            <a:ext cx="444062" cy="2756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DCA39-FE7E-4B33-9419-C9BB65BD88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9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8B46B-09D5-4350-90AD-630FF8E12588}"/>
              </a:ext>
            </a:extLst>
          </p:cNvPr>
          <p:cNvSpPr txBox="1"/>
          <p:nvPr/>
        </p:nvSpPr>
        <p:spPr>
          <a:xfrm>
            <a:off x="3539027" y="6510558"/>
            <a:ext cx="3300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gnificance Testing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ious Quarter OR vs. Previous Year </a:t>
            </a:r>
          </a:p>
          <a:p>
            <a:pPr lvl="0"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95% CL         High           Low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8EE1639-EB44-4116-9497-516BD0C3ED28}"/>
              </a:ext>
            </a:extLst>
          </p:cNvPr>
          <p:cNvSpPr/>
          <p:nvPr/>
        </p:nvSpPr>
        <p:spPr>
          <a:xfrm>
            <a:off x="4034866" y="6677444"/>
            <a:ext cx="91440" cy="91440"/>
          </a:xfrm>
          <a:prstGeom prst="ellipse">
            <a:avLst/>
          </a:prstGeom>
          <a:solidFill>
            <a:srgbClr val="3082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A699FC4-C5FB-4D8F-B26A-275ED3532502}"/>
              </a:ext>
            </a:extLst>
          </p:cNvPr>
          <p:cNvSpPr/>
          <p:nvPr/>
        </p:nvSpPr>
        <p:spPr>
          <a:xfrm>
            <a:off x="4413525" y="6677089"/>
            <a:ext cx="91440" cy="91440"/>
          </a:xfrm>
          <a:prstGeom prst="ellipse">
            <a:avLst/>
          </a:prstGeom>
          <a:solidFill>
            <a:srgbClr val="C9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6EC870-0CA6-4F06-983D-56B059A08EA6}"/>
              </a:ext>
            </a:extLst>
          </p:cNvPr>
          <p:cNvSpPr txBox="1"/>
          <p:nvPr/>
        </p:nvSpPr>
        <p:spPr>
          <a:xfrm>
            <a:off x="11247613" y="48335"/>
            <a:ext cx="875561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Year-Over-Year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339" y="48336"/>
            <a:ext cx="1439818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000" dirty="0">
                <a:solidFill>
                  <a:prstClr val="white">
                    <a:lumMod val="75000"/>
                  </a:prstClr>
                </a:solidFill>
                <a:latin typeface="Franklin Gothic Medium Cond"/>
              </a:rPr>
              <a:t>Lunch &amp; Dinner Occa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Franklin Gothic Medium Cond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34679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XCLUDEHIDDENSLIDES" val="False"/>
  <p:tag name="NUMBEROFPAGES" val="10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sssmJ.MQkzfFGrwkzDY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sssmJ.MQkzfFGrwkzDY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sssmJ.MQkzfFGrwkzDY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tVIWOZ0Yzcr.xYQfc6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tVIWOZ0Yzcr.xYQfc6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7BUwy7gCqTtqFCwf_F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Rwt45Eg4dYvlqUV_VXn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sssmJ.MQkzfFGrwkzD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sssmJ.MQkzfFGrwkzD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sssmJ.MQkzfFGrwkzD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q6QiA4JqU3fS_5NTmJ8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sssmJ.MQkzfFGrwkzDY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sssmJ.MQkzfFGrwkzDY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sssmJ.MQkzfFGrwkzDY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IyuWkTFubuNAEwqJ7kw"/>
</p:tagLst>
</file>

<file path=ppt/theme/theme1.xml><?xml version="1.0" encoding="utf-8"?>
<a:theme xmlns:a="http://schemas.openxmlformats.org/drawingml/2006/main" name="3_Office Theme">
  <a:themeElements>
    <a:clrScheme name="Custom 32">
      <a:dk1>
        <a:sysClr val="windowText" lastClr="000000"/>
      </a:dk1>
      <a:lt1>
        <a:sysClr val="window" lastClr="FFFFFF"/>
      </a:lt1>
      <a:dk2>
        <a:srgbClr val="DB1348"/>
      </a:dk2>
      <a:lt2>
        <a:srgbClr val="E7E6E6"/>
      </a:lt2>
      <a:accent1>
        <a:srgbClr val="DB1348"/>
      </a:accent1>
      <a:accent2>
        <a:srgbClr val="B68F68"/>
      </a:accent2>
      <a:accent3>
        <a:srgbClr val="003960"/>
      </a:accent3>
      <a:accent4>
        <a:srgbClr val="43BDA0"/>
      </a:accent4>
      <a:accent5>
        <a:srgbClr val="F9B9CA"/>
      </a:accent5>
      <a:accent6>
        <a:srgbClr val="61BBFF"/>
      </a:accent6>
      <a:hlink>
        <a:srgbClr val="0563C1"/>
      </a:hlink>
      <a:folHlink>
        <a:srgbClr val="954F72"/>
      </a:folHlink>
    </a:clrScheme>
    <a:fontScheme name="Custom 3">
      <a:majorFont>
        <a:latin typeface="Franklin Gothic Medium Con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Office Theme">
  <a:themeElements>
    <a:clrScheme name="Custom 32">
      <a:dk1>
        <a:sysClr val="windowText" lastClr="000000"/>
      </a:dk1>
      <a:lt1>
        <a:sysClr val="window" lastClr="FFFFFF"/>
      </a:lt1>
      <a:dk2>
        <a:srgbClr val="DB1348"/>
      </a:dk2>
      <a:lt2>
        <a:srgbClr val="E7E6E6"/>
      </a:lt2>
      <a:accent1>
        <a:srgbClr val="DB1348"/>
      </a:accent1>
      <a:accent2>
        <a:srgbClr val="B68F68"/>
      </a:accent2>
      <a:accent3>
        <a:srgbClr val="003960"/>
      </a:accent3>
      <a:accent4>
        <a:srgbClr val="43BDA0"/>
      </a:accent4>
      <a:accent5>
        <a:srgbClr val="F9B9CA"/>
      </a:accent5>
      <a:accent6>
        <a:srgbClr val="61BBFF"/>
      </a:accent6>
      <a:hlink>
        <a:srgbClr val="0563C1"/>
      </a:hlink>
      <a:folHlink>
        <a:srgbClr val="954F72"/>
      </a:folHlink>
    </a:clrScheme>
    <a:fontScheme name="Custom 3">
      <a:majorFont>
        <a:latin typeface="Franklin Gothic Medium Cond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150</TotalTime>
  <Words>18023</Words>
  <Application>Microsoft Office PowerPoint</Application>
  <PresentationFormat>Widescreen</PresentationFormat>
  <Paragraphs>7899</Paragraphs>
  <Slides>109</Slides>
  <Notes>10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9</vt:i4>
      </vt:variant>
    </vt:vector>
  </HeadingPairs>
  <TitlesOfParts>
    <vt:vector size="118" baseType="lpstr">
      <vt:lpstr>Arial</vt:lpstr>
      <vt:lpstr>Arial Narrow</vt:lpstr>
      <vt:lpstr>Calibri</vt:lpstr>
      <vt:lpstr>Franklin Gothic Book</vt:lpstr>
      <vt:lpstr>Franklin Gothic Medium</vt:lpstr>
      <vt:lpstr>Franklin Gothic Medium Cond</vt:lpstr>
      <vt:lpstr>3_Office Theme</vt:lpstr>
      <vt:lpstr>5_Office Theme</vt:lpstr>
      <vt:lpstr>think-cell Slide</vt:lpstr>
      <vt:lpstr>Occasions Trend Report</vt:lpstr>
      <vt:lpstr>PowerPoint Presentation</vt:lpstr>
      <vt:lpstr>Occasions allow us to move beyond category-first thinking</vt:lpstr>
      <vt:lpstr>Occasions will influence all aspects of the business…</vt:lpstr>
      <vt:lpstr>Eating Occasions Shape Category Growth</vt:lpstr>
      <vt:lpstr>Eating Occasions Unlock Retailer Execution</vt:lpstr>
      <vt:lpstr>This is a Big Change with a Big Path to Growth!</vt:lpstr>
      <vt:lpstr>Understanding Occasions</vt:lpstr>
      <vt:lpstr>PowerPoint Presentation</vt:lpstr>
      <vt:lpstr>PowerPoint Presentation</vt:lpstr>
      <vt:lpstr>PowerPoint Presentation</vt:lpstr>
      <vt:lpstr>By understanding our strategic goals for the framework and applying the eating occasion definition, we developed a data-driven eating occasion framework. </vt:lpstr>
      <vt:lpstr>Sample &amp; Method</vt:lpstr>
      <vt:lpstr>Occasion Sizing, Shifting and Behavioral Chan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ellogg Share of Occasions Performance</vt:lpstr>
      <vt:lpstr>PowerPoint Presentation</vt:lpstr>
      <vt:lpstr>Kellogg Share of Occasions Performa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ellogg Category Performance</vt:lpstr>
      <vt:lpstr>PowerPoint Presentation</vt:lpstr>
      <vt:lpstr>PowerPoint Presentation</vt:lpstr>
      <vt:lpstr>QUARTER-OVER-QUARTER  SUPPORTING DATA</vt:lpstr>
      <vt:lpstr>Morning &amp; Afternoon Snacking Occas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YEAR-OVER-YEAR  SUPPORTING DATA</vt:lpstr>
      <vt:lpstr>Breakfast Occas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rning &amp; Afternoon Snacking Occas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vening Snacking Occas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unch &amp; Dinner Occas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Kellog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YING THE EATING  OCCASION FRAMEWORK</dc:title>
  <dc:creator>Jenkins, Camilla</dc:creator>
  <cp:lastModifiedBy>Chhavi Garg</cp:lastModifiedBy>
  <cp:revision>1306</cp:revision>
  <dcterms:created xsi:type="dcterms:W3CDTF">2019-08-23T13:34:00Z</dcterms:created>
  <dcterms:modified xsi:type="dcterms:W3CDTF">2021-05-21T08:52:18Z</dcterms:modified>
</cp:coreProperties>
</file>